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2.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heme/themeOverride2.xml" ContentType="application/vnd.openxmlformats-officedocument.themeOverr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3.xml" ContentType="application/vnd.openxmlformats-officedocument.them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heme/themeOverride3.xml" ContentType="application/vnd.openxmlformats-officedocument.themeOverr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4.xml" ContentType="application/vnd.openxmlformats-officedocument.them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heme/themeOverride4.xml" ContentType="application/vnd.openxmlformats-officedocument.themeOverride+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theme/theme5.xml" ContentType="application/vnd.openxmlformats-officedocument.theme+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heme/themeOverride5.xml" ContentType="application/vnd.openxmlformats-officedocument.themeOverride+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heme/theme6.xml" ContentType="application/vnd.openxmlformats-officedocument.theme+xml"/>
  <Override PartName="/ppt/tags/tag446.xml" ContentType="application/vnd.openxmlformats-officedocument.presentationml.tags+xml"/>
  <Override PartName="/ppt/tags/tag447.xml" ContentType="application/vnd.openxmlformats-officedocument.presentationml.tags+xml"/>
  <Override PartName="/ppt/notesSlides/notesSlide1.xml" ContentType="application/vnd.openxmlformats-officedocument.presentationml.notesSlide+xml"/>
  <Override PartName="/ppt/tags/tag448.xml" ContentType="application/vnd.openxmlformats-officedocument.presentationml.tags+xml"/>
  <Override PartName="/ppt/tags/tag449.xml" ContentType="application/vnd.openxmlformats-officedocument.presentationml.tags+xml"/>
  <Override PartName="/ppt/notesSlides/notesSlide2.xml" ContentType="application/vnd.openxmlformats-officedocument.presentationml.notesSlide+xml"/>
  <Override PartName="/ppt/tags/tag450.xml" ContentType="application/vnd.openxmlformats-officedocument.presentationml.tags+xml"/>
  <Override PartName="/ppt/tags/tag451.xml" ContentType="application/vnd.openxmlformats-officedocument.presentationml.tags+xml"/>
  <Override PartName="/ppt/notesSlides/notesSlide3.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notesSlides/notesSlide4.xml" ContentType="application/vnd.openxmlformats-officedocument.presentationml.notesSlide+xml"/>
  <Override PartName="/ppt/tags/tag454.xml" ContentType="application/vnd.openxmlformats-officedocument.presentationml.tags+xml"/>
  <Override PartName="/ppt/tags/tag455.xml" ContentType="application/vnd.openxmlformats-officedocument.presentationml.tags+xml"/>
  <Override PartName="/ppt/notesSlides/notesSlide5.xml" ContentType="application/vnd.openxmlformats-officedocument.presentationml.notesSlide+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notesSlides/notesSlide7.xml" ContentType="application/vnd.openxmlformats-officedocument.presentationml.notesSlide+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notesSlides/notesSlide8.xml" ContentType="application/vnd.openxmlformats-officedocument.presentationml.notesSlide+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notesSlides/notesSlide10.xml" ContentType="application/vnd.openxmlformats-officedocument.presentationml.notesSlide+xml"/>
  <Override PartName="/ppt/tags/tag493.xml" ContentType="application/vnd.openxmlformats-officedocument.presentationml.tags+xml"/>
  <Override PartName="/ppt/tags/tag494.xml" ContentType="application/vnd.openxmlformats-officedocument.presentationml.tags+xml"/>
  <Override PartName="/ppt/notesSlides/notesSlide11.xml" ContentType="application/vnd.openxmlformats-officedocument.presentationml.notesSlide+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notesSlides/notesSlide12.xml" ContentType="application/vnd.openxmlformats-officedocument.presentationml.notesSlide+xml"/>
  <Override PartName="/ppt/charts/chart4.xml" ContentType="application/vnd.openxmlformats-officedocument.drawingml.chart+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notesSlides/notesSlide13.xml" ContentType="application/vnd.openxmlformats-officedocument.presentationml.notesSlide+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2" r:id="rId2"/>
    <p:sldMasterId id="2147483823" r:id="rId3"/>
    <p:sldMasterId id="2147483904" r:id="rId4"/>
    <p:sldMasterId id="2147483985" r:id="rId5"/>
  </p:sldMasterIdLst>
  <p:notesMasterIdLst>
    <p:notesMasterId r:id="rId25"/>
  </p:notesMasterIdLst>
  <p:sldIdLst>
    <p:sldId id="280" r:id="rId6"/>
    <p:sldId id="2134806098" r:id="rId7"/>
    <p:sldId id="2134806111" r:id="rId8"/>
    <p:sldId id="2134806114" r:id="rId9"/>
    <p:sldId id="2134806109" r:id="rId10"/>
    <p:sldId id="2134806118" r:id="rId11"/>
    <p:sldId id="2134806203" r:id="rId12"/>
    <p:sldId id="273" r:id="rId13"/>
    <p:sldId id="322" r:id="rId14"/>
    <p:sldId id="2134806151" r:id="rId15"/>
    <p:sldId id="2134806133" r:id="rId16"/>
    <p:sldId id="2134806157" r:id="rId17"/>
    <p:sldId id="2134806207" r:id="rId18"/>
    <p:sldId id="2134806134" r:id="rId19"/>
    <p:sldId id="2134806127" r:id="rId20"/>
    <p:sldId id="2134806166" r:id="rId21"/>
    <p:sldId id="2134806168" r:id="rId22"/>
    <p:sldId id="2134806167" r:id="rId23"/>
    <p:sldId id="456"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99"/>
    <p:restoredTop sz="96405"/>
  </p:normalViewPr>
  <p:slideViewPr>
    <p:cSldViewPr snapToGrid="0" snapToObjects="1">
      <p:cViewPr varScale="1">
        <p:scale>
          <a:sx n="110" d="100"/>
          <a:sy n="110" d="100"/>
        </p:scale>
        <p:origin x="804" y="108"/>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14565826330535E-2"/>
          <c:y val="3.4993270524899055E-2"/>
          <c:w val="0.92717086834733897"/>
          <c:h val="0.93001345895020193"/>
        </c:manualLayout>
      </c:layout>
      <c:barChart>
        <c:barDir val="col"/>
        <c:grouping val="stacked"/>
        <c:varyColors val="0"/>
        <c:ser>
          <c:idx val="0"/>
          <c:order val="0"/>
          <c:spPr>
            <a:solidFill>
              <a:srgbClr val="12284C"/>
            </a:solidFill>
            <a:ln>
              <a:noFill/>
            </a:ln>
          </c:spPr>
          <c:invertIfNegative val="0"/>
          <c:val>
            <c:numRef>
              <c:f>Sheet1!$A$1</c:f>
              <c:numCache>
                <c:formatCode>General</c:formatCode>
                <c:ptCount val="1"/>
                <c:pt idx="0">
                  <c:v>52659567</c:v>
                </c:pt>
              </c:numCache>
            </c:numRef>
          </c:val>
          <c:extLst>
            <c:ext xmlns:c16="http://schemas.microsoft.com/office/drawing/2014/chart" uri="{C3380CC4-5D6E-409C-BE32-E72D297353CC}">
              <c16:uniqueId val="{00000000-B414-4981-93FD-745570659949}"/>
            </c:ext>
          </c:extLst>
        </c:ser>
        <c:ser>
          <c:idx val="1"/>
          <c:order val="1"/>
          <c:spPr>
            <a:solidFill>
              <a:srgbClr val="A6A6A6"/>
            </a:solidFill>
            <a:ln>
              <a:noFill/>
            </a:ln>
          </c:spPr>
          <c:invertIfNegative val="0"/>
          <c:val>
            <c:numRef>
              <c:f>Sheet1!$A$2</c:f>
              <c:numCache>
                <c:formatCode>General</c:formatCode>
                <c:ptCount val="1"/>
                <c:pt idx="0">
                  <c:v>31446849</c:v>
                </c:pt>
              </c:numCache>
            </c:numRef>
          </c:val>
          <c:extLst>
            <c:ext xmlns:c16="http://schemas.microsoft.com/office/drawing/2014/chart" uri="{C3380CC4-5D6E-409C-BE32-E72D297353CC}">
              <c16:uniqueId val="{00000001-B414-4981-93FD-745570659949}"/>
            </c:ext>
          </c:extLst>
        </c:ser>
        <c:dLbls>
          <c:showLegendKey val="0"/>
          <c:showVal val="0"/>
          <c:showCatName val="0"/>
          <c:showSerName val="0"/>
          <c:showPercent val="0"/>
          <c:showBubbleSize val="0"/>
        </c:dLbls>
        <c:gapWidth val="60"/>
        <c:overlap val="100"/>
        <c:axId val="629307240"/>
        <c:axId val="1"/>
      </c:barChart>
      <c:catAx>
        <c:axId val="629307240"/>
        <c:scaling>
          <c:orientation val="minMax"/>
        </c:scaling>
        <c:delete val="0"/>
        <c:axPos val="b"/>
        <c:majorGridlines>
          <c:spPr>
            <a:ln>
              <a:noFill/>
            </a:ln>
          </c:spPr>
        </c:majorGridlines>
        <c:majorTickMark val="none"/>
        <c:minorTickMark val="none"/>
        <c:tickLblPos val="none"/>
        <c:spPr>
          <a:ln w="9525" algn="ctr">
            <a:solidFill>
              <a:srgbClr val="9A9A9A"/>
            </a:solidFill>
            <a:prstDash val="solid"/>
          </a:ln>
        </c:spPr>
        <c:crossAx val="1"/>
        <c:crosses val="min"/>
        <c:auto val="0"/>
        <c:lblAlgn val="ctr"/>
        <c:lblOffset val="100"/>
        <c:noMultiLvlLbl val="0"/>
      </c:catAx>
      <c:valAx>
        <c:axId val="1"/>
        <c:scaling>
          <c:orientation val="minMax"/>
          <c:max val="84106416"/>
          <c:min val="0"/>
        </c:scaling>
        <c:delete val="1"/>
        <c:axPos val="l"/>
        <c:numFmt formatCode="General" sourceLinked="1"/>
        <c:majorTickMark val="out"/>
        <c:minorTickMark val="none"/>
        <c:tickLblPos val="nextTo"/>
        <c:crossAx val="62930724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2367149758454E-2"/>
          <c:y val="0.15334420880913541"/>
          <c:w val="0.96135265700483097"/>
          <c:h val="0.80424143556280592"/>
        </c:manualLayout>
      </c:layout>
      <c:barChart>
        <c:barDir val="col"/>
        <c:grouping val="stacked"/>
        <c:varyColors val="0"/>
        <c:ser>
          <c:idx val="0"/>
          <c:order val="0"/>
          <c:spPr>
            <a:solidFill>
              <a:srgbClr val="88A4C2"/>
            </a:solidFill>
            <a:ln>
              <a:noFill/>
            </a:ln>
          </c:spPr>
          <c:invertIfNegative val="0"/>
          <c:dLbls>
            <c:dLbl>
              <c:idx val="0"/>
              <c:layout>
                <c:manualLayout>
                  <c:x val="0"/>
                  <c:y val="-0.23980424143556281"/>
                </c:manualLayout>
              </c:layout>
              <c:numFmt formatCode="&quot;$&quot;#,##0&quot;M&quot;;&quot;-&quot;&quot;$&quot;#,##0&quot;M&quot;" sourceLinked="0"/>
              <c:spPr>
                <a:noFill/>
                <a:ln>
                  <a:noFill/>
                </a:ln>
              </c:spPr>
              <c:txPr>
                <a:bodyPr wrap="none"/>
                <a:lstStyle/>
                <a:p>
                  <a:pPr>
                    <a:defRPr sz="1600">
                      <a:solidFill>
                        <a:srgbClr val="12284C"/>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C78-4ECE-B0C8-AAEA8B59C6FC}"/>
                </c:ext>
              </c:extLst>
            </c:dLbl>
            <c:dLbl>
              <c:idx val="1"/>
              <c:layout>
                <c:manualLayout>
                  <c:x val="0"/>
                  <c:y val="-0.2805872756933116"/>
                </c:manualLayout>
              </c:layout>
              <c:numFmt formatCode="&quot;$&quot;#,##0&quot;M&quot;;&quot;-&quot;&quot;$&quot;#,##0&quot;M&quot;" sourceLinked="0"/>
              <c:spPr>
                <a:noFill/>
                <a:ln>
                  <a:noFill/>
                </a:ln>
              </c:spPr>
              <c:txPr>
                <a:bodyPr wrap="none"/>
                <a:lstStyle/>
                <a:p>
                  <a:pPr>
                    <a:defRPr sz="1600">
                      <a:solidFill>
                        <a:srgbClr val="12284C"/>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C78-4ECE-B0C8-AAEA8B59C6FC}"/>
                </c:ext>
              </c:extLst>
            </c:dLbl>
            <c:dLbl>
              <c:idx val="2"/>
              <c:layout>
                <c:manualLayout>
                  <c:x val="0"/>
                  <c:y val="-0.48123980424143559"/>
                </c:manualLayout>
              </c:layout>
              <c:numFmt formatCode="&quot;$&quot;#,##0&quot;M&quot;;&quot;-&quot;&quot;$&quot;#,##0&quot;M&quot;" sourceLinked="0"/>
              <c:spPr>
                <a:noFill/>
                <a:ln>
                  <a:noFill/>
                </a:ln>
              </c:spPr>
              <c:txPr>
                <a:bodyPr wrap="none"/>
                <a:lstStyle/>
                <a:p>
                  <a:pPr>
                    <a:defRPr sz="1600">
                      <a:solidFill>
                        <a:srgbClr val="12284C"/>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C78-4ECE-B0C8-AAEA8B59C6FC}"/>
                </c:ext>
              </c:extLst>
            </c:dLbl>
            <c:dLbl>
              <c:idx val="3"/>
              <c:layout>
                <c:manualLayout>
                  <c:x val="0"/>
                  <c:y val="-0.199836867862969"/>
                </c:manualLayout>
              </c:layout>
              <c:numFmt formatCode="&quot;$&quot;#,##0&quot;M&quot;;&quot;-&quot;&quot;$&quot;#,##0&quot;M&quot;" sourceLinked="0"/>
              <c:spPr>
                <a:noFill/>
                <a:ln>
                  <a:noFill/>
                </a:ln>
              </c:spPr>
              <c:txPr>
                <a:bodyPr wrap="none"/>
                <a:lstStyle/>
                <a:p>
                  <a:pPr>
                    <a:defRPr sz="1600">
                      <a:solidFill>
                        <a:srgbClr val="12284C"/>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C78-4ECE-B0C8-AAEA8B59C6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c:v>
                </c:pt>
                <c:pt idx="1">
                  <c:v>5</c:v>
                </c:pt>
                <c:pt idx="2">
                  <c:v>10</c:v>
                </c:pt>
                <c:pt idx="3">
                  <c:v>3</c:v>
                </c:pt>
              </c:numCache>
            </c:numRef>
          </c:val>
          <c:extLst>
            <c:ext xmlns:c16="http://schemas.microsoft.com/office/drawing/2014/chart" uri="{C3380CC4-5D6E-409C-BE32-E72D297353CC}">
              <c16:uniqueId val="{00000004-0C78-4ECE-B0C8-AAEA8B59C6FC}"/>
            </c:ext>
          </c:extLst>
        </c:ser>
        <c:dLbls>
          <c:showLegendKey val="0"/>
          <c:showVal val="0"/>
          <c:showCatName val="0"/>
          <c:showSerName val="0"/>
          <c:showPercent val="0"/>
          <c:showBubbleSize val="0"/>
        </c:dLbls>
        <c:gapWidth val="60"/>
        <c:overlap val="100"/>
        <c:axId val="1112803384"/>
        <c:axId val="1"/>
      </c:barChart>
      <c:catAx>
        <c:axId val="1112803384"/>
        <c:scaling>
          <c:orientation val="minMax"/>
        </c:scaling>
        <c:delete val="0"/>
        <c:axPos val="b"/>
        <c:majorGridlines>
          <c:spPr>
            <a:ln>
              <a:noFill/>
            </a:ln>
          </c:spPr>
        </c:majorGridlines>
        <c:majorTickMark val="none"/>
        <c:minorTickMark val="none"/>
        <c:tickLblPos val="none"/>
        <c:spPr>
          <a:ln w="9525" algn="ctr">
            <a:solidFill>
              <a:srgbClr val="9A9A9A"/>
            </a:solidFill>
            <a:prstDash val="solid"/>
          </a:ln>
        </c:spPr>
        <c:crossAx val="1"/>
        <c:crosses val="min"/>
        <c:auto val="0"/>
        <c:lblAlgn val="ctr"/>
        <c:lblOffset val="100"/>
        <c:noMultiLvlLbl val="0"/>
      </c:catAx>
      <c:valAx>
        <c:axId val="1"/>
        <c:scaling>
          <c:orientation val="minMax"/>
          <c:max val="10"/>
          <c:min val="0"/>
        </c:scaling>
        <c:delete val="1"/>
        <c:axPos val="l"/>
        <c:numFmt formatCode="General" sourceLinked="1"/>
        <c:majorTickMark val="out"/>
        <c:minorTickMark val="none"/>
        <c:tickLblPos val="nextTo"/>
        <c:crossAx val="111280338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488584474885846E-2"/>
          <c:y val="4.7488584474885846E-2"/>
          <c:w val="0.90502283105022829"/>
          <c:h val="0.90502283105022829"/>
        </c:manualLayout>
      </c:layout>
      <c:doughnutChart>
        <c:varyColors val="0"/>
        <c:ser>
          <c:idx val="0"/>
          <c:order val="0"/>
          <c:dPt>
            <c:idx val="0"/>
            <c:bubble3D val="0"/>
            <c:spPr>
              <a:solidFill>
                <a:srgbClr val="01B096"/>
              </a:solidFill>
              <a:ln>
                <a:noFill/>
              </a:ln>
            </c:spPr>
            <c:extLst>
              <c:ext xmlns:c16="http://schemas.microsoft.com/office/drawing/2014/chart" uri="{C3380CC4-5D6E-409C-BE32-E72D297353CC}">
                <c16:uniqueId val="{00000000-C3CB-4206-A112-B2ECBB30CCF8}"/>
              </c:ext>
            </c:extLst>
          </c:dPt>
          <c:dPt>
            <c:idx val="1"/>
            <c:bubble3D val="0"/>
            <c:spPr>
              <a:solidFill>
                <a:srgbClr val="F9A11B"/>
              </a:solidFill>
              <a:ln>
                <a:noFill/>
              </a:ln>
            </c:spPr>
            <c:extLst>
              <c:ext xmlns:c16="http://schemas.microsoft.com/office/drawing/2014/chart" uri="{C3380CC4-5D6E-409C-BE32-E72D297353CC}">
                <c16:uniqueId val="{00000001-C3CB-4206-A112-B2ECBB30CCF8}"/>
              </c:ext>
            </c:extLst>
          </c:dPt>
          <c:dPt>
            <c:idx val="2"/>
            <c:bubble3D val="0"/>
            <c:spPr>
              <a:solidFill>
                <a:srgbClr val="12284C"/>
              </a:solidFill>
              <a:ln>
                <a:noFill/>
              </a:ln>
            </c:spPr>
            <c:extLst>
              <c:ext xmlns:c16="http://schemas.microsoft.com/office/drawing/2014/chart" uri="{C3380CC4-5D6E-409C-BE32-E72D297353CC}">
                <c16:uniqueId val="{00000002-C3CB-4206-A112-B2ECBB30CCF8}"/>
              </c:ext>
            </c:extLst>
          </c:dPt>
          <c:val>
            <c:numRef>
              <c:f>Sheet1!$A$1:$A$3</c:f>
              <c:numCache>
                <c:formatCode>General</c:formatCode>
                <c:ptCount val="3"/>
                <c:pt idx="0">
                  <c:v>62</c:v>
                </c:pt>
                <c:pt idx="1">
                  <c:v>27</c:v>
                </c:pt>
                <c:pt idx="2">
                  <c:v>11</c:v>
                </c:pt>
              </c:numCache>
            </c:numRef>
          </c:val>
          <c:extLst>
            <c:ext xmlns:c16="http://schemas.microsoft.com/office/drawing/2014/chart" uri="{C3380CC4-5D6E-409C-BE32-E72D297353CC}">
              <c16:uniqueId val="{00000003-C3CB-4206-A112-B2ECBB30CCF8}"/>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260273972602738E-2"/>
          <c:y val="2.2260273972602738E-2"/>
          <c:w val="0.95547945205479445"/>
          <c:h val="0.95547945205479445"/>
        </c:manualLayout>
      </c:layout>
      <c:doughnutChart>
        <c:varyColors val="0"/>
        <c:ser>
          <c:idx val="0"/>
          <c:order val="0"/>
          <c:dPt>
            <c:idx val="0"/>
            <c:bubble3D val="0"/>
            <c:spPr>
              <a:solidFill>
                <a:srgbClr val="12284C"/>
              </a:solidFill>
              <a:ln>
                <a:noFill/>
              </a:ln>
            </c:spPr>
            <c:extLst>
              <c:ext xmlns:c16="http://schemas.microsoft.com/office/drawing/2014/chart" uri="{C3380CC4-5D6E-409C-BE32-E72D297353CC}">
                <c16:uniqueId val="{00000000-DE14-4DE6-9BE9-1C6B7EC95889}"/>
              </c:ext>
            </c:extLst>
          </c:dPt>
          <c:dPt>
            <c:idx val="1"/>
            <c:bubble3D val="0"/>
            <c:spPr>
              <a:solidFill>
                <a:srgbClr val="F9A11B"/>
              </a:solidFill>
              <a:ln>
                <a:noFill/>
              </a:ln>
            </c:spPr>
            <c:extLst>
              <c:ext xmlns:c16="http://schemas.microsoft.com/office/drawing/2014/chart" uri="{C3380CC4-5D6E-409C-BE32-E72D297353CC}">
                <c16:uniqueId val="{00000001-DE14-4DE6-9BE9-1C6B7EC95889}"/>
              </c:ext>
            </c:extLst>
          </c:dPt>
          <c:dPt>
            <c:idx val="2"/>
            <c:bubble3D val="0"/>
            <c:spPr>
              <a:solidFill>
                <a:srgbClr val="01B096"/>
              </a:solidFill>
              <a:ln>
                <a:noFill/>
              </a:ln>
            </c:spPr>
            <c:extLst>
              <c:ext xmlns:c16="http://schemas.microsoft.com/office/drawing/2014/chart" uri="{C3380CC4-5D6E-409C-BE32-E72D297353CC}">
                <c16:uniqueId val="{00000002-DE14-4DE6-9BE9-1C6B7EC95889}"/>
              </c:ext>
            </c:extLst>
          </c:dPt>
          <c:dPt>
            <c:idx val="3"/>
            <c:bubble3D val="0"/>
            <c:spPr>
              <a:solidFill>
                <a:srgbClr val="88A4C2"/>
              </a:solidFill>
              <a:ln>
                <a:noFill/>
              </a:ln>
            </c:spPr>
            <c:extLst>
              <c:ext xmlns:c16="http://schemas.microsoft.com/office/drawing/2014/chart" uri="{C3380CC4-5D6E-409C-BE32-E72D297353CC}">
                <c16:uniqueId val="{00000003-DE14-4DE6-9BE9-1C6B7EC95889}"/>
              </c:ext>
            </c:extLst>
          </c:dPt>
          <c:dPt>
            <c:idx val="4"/>
            <c:bubble3D val="0"/>
            <c:spPr>
              <a:solidFill>
                <a:srgbClr val="9A9A9A"/>
              </a:solidFill>
              <a:ln>
                <a:noFill/>
              </a:ln>
            </c:spPr>
            <c:extLst>
              <c:ext xmlns:c16="http://schemas.microsoft.com/office/drawing/2014/chart" uri="{C3380CC4-5D6E-409C-BE32-E72D297353CC}">
                <c16:uniqueId val="{00000004-DE14-4DE6-9BE9-1C6B7EC95889}"/>
              </c:ext>
            </c:extLst>
          </c:dPt>
          <c:dLbls>
            <c:dLbl>
              <c:idx val="0"/>
              <c:layout>
                <c:manualLayout>
                  <c:x val="1.9691780821917807E-2"/>
                  <c:y val="6.1215753424657536E-2"/>
                </c:manualLayout>
              </c:layout>
              <c:numFmt formatCode="#,##0.0;&quot;-&quot;#,##0.0" sourceLinked="0"/>
              <c:spPr>
                <a:noFill/>
                <a:ln>
                  <a:noFill/>
                </a:ln>
              </c:spPr>
              <c:txPr>
                <a:bodyPr wrap="none"/>
                <a:lstStyle/>
                <a:p>
                  <a:pPr>
                    <a:defRPr sz="16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14-4DE6-9BE9-1C6B7EC95889}"/>
                </c:ext>
              </c:extLst>
            </c:dLbl>
            <c:dLbl>
              <c:idx val="1"/>
              <c:layout>
                <c:manualLayout>
                  <c:x val="-2.7825342465753425E-2"/>
                  <c:y val="-5.9075342465753425E-2"/>
                </c:manualLayout>
              </c:layout>
              <c:numFmt formatCode="#,##0.0;&quot;-&quot;#,##0.0" sourceLinked="0"/>
              <c:spPr>
                <a:noFill/>
                <a:ln>
                  <a:noFill/>
                </a:ln>
              </c:spPr>
              <c:txPr>
                <a:bodyPr wrap="none"/>
                <a:lstStyle/>
                <a:p>
                  <a:pPr>
                    <a:defRPr sz="1600">
                      <a:solidFill>
                        <a:srgbClr val="12284C"/>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14-4DE6-9BE9-1C6B7EC958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90.000000108157863</c:v>
                </c:pt>
                <c:pt idx="1">
                  <c:v>6.4894717487255766</c:v>
                </c:pt>
                <c:pt idx="2">
                  <c:v>3.1095385462643392</c:v>
                </c:pt>
                <c:pt idx="3">
                  <c:v>4.0559198429534857E-2</c:v>
                </c:pt>
                <c:pt idx="4">
                  <c:v>0.50000000811183964</c:v>
                </c:pt>
              </c:numCache>
            </c:numRef>
          </c:val>
          <c:extLst>
            <c:ext xmlns:c16="http://schemas.microsoft.com/office/drawing/2014/chart" uri="{C3380CC4-5D6E-409C-BE32-E72D297353CC}">
              <c16:uniqueId val="{00000005-DE14-4DE6-9BE9-1C6B7EC95889}"/>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0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0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2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F553E6-F1C8-8545-93AB-4C95F19BA272}" type="datetimeFigureOut">
              <a:rPr lang="en-US" smtClean="0"/>
              <a:t>8/30/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FF4A6A-1E49-A446-92DB-B10075EC8C8F}" type="slidenum">
              <a:rPr lang="en-US" smtClean="0"/>
              <a:t>‹#›</a:t>
            </a:fld>
            <a:endParaRPr lang="en-US" dirty="0"/>
          </a:p>
        </p:txBody>
      </p:sp>
    </p:spTree>
    <p:extLst>
      <p:ext uri="{BB962C8B-B14F-4D97-AF65-F5344CB8AC3E}">
        <p14:creationId xmlns:p14="http://schemas.microsoft.com/office/powerpoint/2010/main" val="14547796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528105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6105251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13</a:t>
            </a:fld>
            <a:endParaRPr lang="en-US" dirty="0"/>
          </a:p>
        </p:txBody>
      </p:sp>
    </p:spTree>
    <p:extLst>
      <p:ext uri="{BB962C8B-B14F-4D97-AF65-F5344CB8AC3E}">
        <p14:creationId xmlns:p14="http://schemas.microsoft.com/office/powerpoint/2010/main" val="15102655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15</a:t>
            </a:fld>
            <a:endParaRPr lang="en-US" dirty="0"/>
          </a:p>
        </p:txBody>
      </p:sp>
    </p:spTree>
    <p:extLst>
      <p:ext uri="{BB962C8B-B14F-4D97-AF65-F5344CB8AC3E}">
        <p14:creationId xmlns:p14="http://schemas.microsoft.com/office/powerpoint/2010/main" val="1664809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8214497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Today’s students are the future workforce and future leaders of Kansas. Kansans Can achieve anything and, together, Kansans Can lead the world in the success of each stud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96340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6148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03449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046302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701297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7</a:t>
            </a:fld>
            <a:endParaRPr lang="en-US" dirty="0"/>
          </a:p>
        </p:txBody>
      </p:sp>
    </p:spTree>
    <p:extLst>
      <p:ext uri="{BB962C8B-B14F-4D97-AF65-F5344CB8AC3E}">
        <p14:creationId xmlns:p14="http://schemas.microsoft.com/office/powerpoint/2010/main" val="1716053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42154124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6512285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3140857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vmlDrawing" Target="../drawings/vmlDrawing10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01.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15.xml"/><Relationship Id="rId1" Type="http://schemas.openxmlformats.org/officeDocument/2006/relationships/vmlDrawing" Target="../drawings/vmlDrawing102.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02.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16.xml"/><Relationship Id="rId1" Type="http://schemas.openxmlformats.org/officeDocument/2006/relationships/vmlDrawing" Target="../drawings/vmlDrawing103.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03.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17.xml"/><Relationship Id="rId1" Type="http://schemas.openxmlformats.org/officeDocument/2006/relationships/vmlDrawing" Target="../drawings/vmlDrawing104.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04.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18.xml"/><Relationship Id="rId1" Type="http://schemas.openxmlformats.org/officeDocument/2006/relationships/vmlDrawing" Target="../drawings/vmlDrawing105.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05.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19.xml"/><Relationship Id="rId1" Type="http://schemas.openxmlformats.org/officeDocument/2006/relationships/vmlDrawing" Target="../drawings/vmlDrawing106.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06.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20.xml"/><Relationship Id="rId1" Type="http://schemas.openxmlformats.org/officeDocument/2006/relationships/vmlDrawing" Target="../drawings/vmlDrawing107.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07.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21.xml"/><Relationship Id="rId1" Type="http://schemas.openxmlformats.org/officeDocument/2006/relationships/vmlDrawing" Target="../drawings/vmlDrawing108.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08.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22.xml"/><Relationship Id="rId1" Type="http://schemas.openxmlformats.org/officeDocument/2006/relationships/vmlDrawing" Target="../drawings/vmlDrawing109.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0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23.xml"/><Relationship Id="rId1" Type="http://schemas.openxmlformats.org/officeDocument/2006/relationships/vmlDrawing" Target="../drawings/vmlDrawing110.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24.xml"/><Relationship Id="rId1" Type="http://schemas.openxmlformats.org/officeDocument/2006/relationships/vmlDrawing" Target="../drawings/vmlDrawing111.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11.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25.xml"/><Relationship Id="rId1" Type="http://schemas.openxmlformats.org/officeDocument/2006/relationships/vmlDrawing" Target="../drawings/vmlDrawing112.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12.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26.xml"/><Relationship Id="rId1" Type="http://schemas.openxmlformats.org/officeDocument/2006/relationships/vmlDrawing" Target="../drawings/vmlDrawing113.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13.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27.xml"/><Relationship Id="rId1" Type="http://schemas.openxmlformats.org/officeDocument/2006/relationships/vmlDrawing" Target="../drawings/vmlDrawing114.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14.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8.xml"/><Relationship Id="rId1" Type="http://schemas.openxmlformats.org/officeDocument/2006/relationships/vmlDrawing" Target="../drawings/vmlDrawing11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5.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9.xml"/><Relationship Id="rId1" Type="http://schemas.openxmlformats.org/officeDocument/2006/relationships/vmlDrawing" Target="../drawings/vmlDrawing11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6.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30.xml"/><Relationship Id="rId1" Type="http://schemas.openxmlformats.org/officeDocument/2006/relationships/vmlDrawing" Target="../drawings/vmlDrawing117.vml"/><Relationship Id="rId6" Type="http://schemas.openxmlformats.org/officeDocument/2006/relationships/image" Target="../media/image18.png"/><Relationship Id="rId5" Type="http://schemas.openxmlformats.org/officeDocument/2006/relationships/image" Target="../media/image16.emf"/><Relationship Id="rId4" Type="http://schemas.openxmlformats.org/officeDocument/2006/relationships/oleObject" Target="../embeddings/oleObject117.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vmlDrawing" Target="../drawings/vmlDrawing11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8.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2.xml"/><Relationship Id="rId1" Type="http://schemas.openxmlformats.org/officeDocument/2006/relationships/vmlDrawing" Target="../drawings/vmlDrawing11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9.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vmlDrawing" Target="../drawings/vmlDrawing12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vmlDrawing" Target="../drawings/vmlDrawing12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1.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vmlDrawing" Target="../drawings/vmlDrawing122.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2.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vmlDrawing" Target="../drawings/vmlDrawing12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3.bin"/></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3.png"/><Relationship Id="rId2" Type="http://schemas.openxmlformats.org/officeDocument/2006/relationships/tags" Target="../tags/tag137.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vmlDrawing" Target="../drawings/vmlDrawing12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5.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0.xml"/><Relationship Id="rId1" Type="http://schemas.openxmlformats.org/officeDocument/2006/relationships/vmlDrawing" Target="../drawings/vmlDrawing12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6.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vmlDrawing" Target="../drawings/vmlDrawing12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7.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2.xml"/><Relationship Id="rId1" Type="http://schemas.openxmlformats.org/officeDocument/2006/relationships/vmlDrawing" Target="../drawings/vmlDrawing12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8.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vmlDrawing" Target="../drawings/vmlDrawing12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9.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44.xml"/><Relationship Id="rId1" Type="http://schemas.openxmlformats.org/officeDocument/2006/relationships/vmlDrawing" Target="../drawings/vmlDrawing130.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3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45.xml"/><Relationship Id="rId1" Type="http://schemas.openxmlformats.org/officeDocument/2006/relationships/vmlDrawing" Target="../drawings/vmlDrawing131.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31.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46.xml"/><Relationship Id="rId1" Type="http://schemas.openxmlformats.org/officeDocument/2006/relationships/vmlDrawing" Target="../drawings/vmlDrawing132.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32.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47.xml"/><Relationship Id="rId1" Type="http://schemas.openxmlformats.org/officeDocument/2006/relationships/vmlDrawing" Target="../drawings/vmlDrawing133.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3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48.xml"/><Relationship Id="rId1" Type="http://schemas.openxmlformats.org/officeDocument/2006/relationships/vmlDrawing" Target="../drawings/vmlDrawing134.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3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49.xml"/><Relationship Id="rId1" Type="http://schemas.openxmlformats.org/officeDocument/2006/relationships/vmlDrawing" Target="../drawings/vmlDrawing135.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3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50.xml"/><Relationship Id="rId1" Type="http://schemas.openxmlformats.org/officeDocument/2006/relationships/vmlDrawing" Target="../drawings/vmlDrawing136.vml"/><Relationship Id="rId6" Type="http://schemas.openxmlformats.org/officeDocument/2006/relationships/image" Target="../media/image14.png"/><Relationship Id="rId5" Type="http://schemas.openxmlformats.org/officeDocument/2006/relationships/image" Target="../media/image16.emf"/><Relationship Id="rId4" Type="http://schemas.openxmlformats.org/officeDocument/2006/relationships/oleObject" Target="../embeddings/oleObject13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51.xml"/><Relationship Id="rId1" Type="http://schemas.openxmlformats.org/officeDocument/2006/relationships/vmlDrawing" Target="../drawings/vmlDrawing137.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3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52.xml"/><Relationship Id="rId1" Type="http://schemas.openxmlformats.org/officeDocument/2006/relationships/vmlDrawing" Target="../drawings/vmlDrawing138.vml"/><Relationship Id="rId6" Type="http://schemas.openxmlformats.org/officeDocument/2006/relationships/image" Target="../media/image17.png"/><Relationship Id="rId5" Type="http://schemas.openxmlformats.org/officeDocument/2006/relationships/image" Target="../media/image8.emf"/><Relationship Id="rId4" Type="http://schemas.openxmlformats.org/officeDocument/2006/relationships/oleObject" Target="../embeddings/oleObject13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53.xml"/><Relationship Id="rId1" Type="http://schemas.openxmlformats.org/officeDocument/2006/relationships/vmlDrawing" Target="../drawings/vmlDrawing139.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3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54.xml"/><Relationship Id="rId1" Type="http://schemas.openxmlformats.org/officeDocument/2006/relationships/vmlDrawing" Target="../drawings/vmlDrawing140.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4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55.xml"/><Relationship Id="rId1" Type="http://schemas.openxmlformats.org/officeDocument/2006/relationships/vmlDrawing" Target="../drawings/vmlDrawing141.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4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56.xml"/><Relationship Id="rId1" Type="http://schemas.openxmlformats.org/officeDocument/2006/relationships/vmlDrawing" Target="../drawings/vmlDrawing142.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4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57.xml"/><Relationship Id="rId1" Type="http://schemas.openxmlformats.org/officeDocument/2006/relationships/vmlDrawing" Target="../drawings/vmlDrawing143.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4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vmlDrawing" Target="../drawings/vmlDrawing14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4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9.xml"/><Relationship Id="rId1" Type="http://schemas.openxmlformats.org/officeDocument/2006/relationships/vmlDrawing" Target="../drawings/vmlDrawing14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4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60.xml"/><Relationship Id="rId1" Type="http://schemas.openxmlformats.org/officeDocument/2006/relationships/vmlDrawing" Target="../drawings/vmlDrawing146.vml"/><Relationship Id="rId6" Type="http://schemas.openxmlformats.org/officeDocument/2006/relationships/image" Target="../media/image18.png"/><Relationship Id="rId5" Type="http://schemas.openxmlformats.org/officeDocument/2006/relationships/image" Target="../media/image2.emf"/><Relationship Id="rId4" Type="http://schemas.openxmlformats.org/officeDocument/2006/relationships/oleObject" Target="../embeddings/oleObject146.bin"/></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9.png"/><Relationship Id="rId2" Type="http://schemas.openxmlformats.org/officeDocument/2006/relationships/vmlDrawing" Target="../drawings/vmlDrawing147.vml"/><Relationship Id="rId1" Type="http://schemas.openxmlformats.org/officeDocument/2006/relationships/themeOverride" Target="../theme/themeOverride2.xml"/><Relationship Id="rId6" Type="http://schemas.openxmlformats.org/officeDocument/2006/relationships/image" Target="../media/image8.emf"/><Relationship Id="rId5" Type="http://schemas.openxmlformats.org/officeDocument/2006/relationships/oleObject" Target="../embeddings/oleObject147.bin"/><Relationship Id="rId4"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62.xml"/><Relationship Id="rId1" Type="http://schemas.openxmlformats.org/officeDocument/2006/relationships/vmlDrawing" Target="../drawings/vmlDrawing148.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4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3.xml"/><Relationship Id="rId1" Type="http://schemas.openxmlformats.org/officeDocument/2006/relationships/vmlDrawing" Target="../drawings/vmlDrawing14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4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vmlDrawing" Target="../drawings/vmlDrawing15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5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vmlDrawing" Target="../drawings/vmlDrawing15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5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6.xml"/><Relationship Id="rId1" Type="http://schemas.openxmlformats.org/officeDocument/2006/relationships/vmlDrawing" Target="../drawings/vmlDrawing152.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7.xml"/><Relationship Id="rId1" Type="http://schemas.openxmlformats.org/officeDocument/2006/relationships/vmlDrawing" Target="../drawings/vmlDrawing15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53.bin"/></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9.png"/><Relationship Id="rId2" Type="http://schemas.openxmlformats.org/officeDocument/2006/relationships/tags" Target="../tags/tag168.xml"/><Relationship Id="rId1" Type="http://schemas.openxmlformats.org/officeDocument/2006/relationships/vmlDrawing" Target="../drawings/vmlDrawing154.vml"/><Relationship Id="rId6" Type="http://schemas.openxmlformats.org/officeDocument/2006/relationships/image" Target="../media/image1.emf"/><Relationship Id="rId5" Type="http://schemas.openxmlformats.org/officeDocument/2006/relationships/oleObject" Target="../embeddings/oleObject154.bin"/><Relationship Id="rId4"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0.xml"/><Relationship Id="rId1" Type="http://schemas.openxmlformats.org/officeDocument/2006/relationships/vmlDrawing" Target="../drawings/vmlDrawing155.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1.xml"/><Relationship Id="rId1" Type="http://schemas.openxmlformats.org/officeDocument/2006/relationships/vmlDrawing" Target="../drawings/vmlDrawing15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72.xml"/><Relationship Id="rId1" Type="http://schemas.openxmlformats.org/officeDocument/2006/relationships/vmlDrawing" Target="../drawings/vmlDrawing157.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image" Target="../media/image9.png"/><Relationship Id="rId2" Type="http://schemas.openxmlformats.org/officeDocument/2006/relationships/tags" Target="../tags/tag173.xml"/><Relationship Id="rId1" Type="http://schemas.openxmlformats.org/officeDocument/2006/relationships/vmlDrawing" Target="../drawings/vmlDrawing158.vml"/><Relationship Id="rId6" Type="http://schemas.openxmlformats.org/officeDocument/2006/relationships/image" Target="../media/image1.emf"/><Relationship Id="rId5" Type="http://schemas.openxmlformats.org/officeDocument/2006/relationships/oleObject" Target="../embeddings/oleObject158.bin"/><Relationship Id="rId4"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5.xml"/><Relationship Id="rId1" Type="http://schemas.openxmlformats.org/officeDocument/2006/relationships/vmlDrawing" Target="../drawings/vmlDrawing159.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6.xml"/><Relationship Id="rId1" Type="http://schemas.openxmlformats.org/officeDocument/2006/relationships/vmlDrawing" Target="../drawings/vmlDrawing16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77.xml"/><Relationship Id="rId1" Type="http://schemas.openxmlformats.org/officeDocument/2006/relationships/vmlDrawing" Target="../drawings/vmlDrawing161.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78.xml"/><Relationship Id="rId1" Type="http://schemas.openxmlformats.org/officeDocument/2006/relationships/vmlDrawing" Target="../drawings/vmlDrawing162.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3.png"/><Relationship Id="rId2" Type="http://schemas.openxmlformats.org/officeDocument/2006/relationships/tags" Target="../tags/tag180.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4.png"/><Relationship Id="rId2" Type="http://schemas.openxmlformats.org/officeDocument/2006/relationships/tags" Target="../tags/tag182.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5.png"/><Relationship Id="rId2" Type="http://schemas.openxmlformats.org/officeDocument/2006/relationships/tags" Target="../tags/tag184.xml"/><Relationship Id="rId1" Type="http://schemas.openxmlformats.org/officeDocument/2006/relationships/vmlDrawing" Target="../drawings/vmlDrawing166.vml"/><Relationship Id="rId6" Type="http://schemas.openxmlformats.org/officeDocument/2006/relationships/image" Target="../media/image2.emf"/><Relationship Id="rId5" Type="http://schemas.openxmlformats.org/officeDocument/2006/relationships/oleObject" Target="../embeddings/oleObject166.bin"/><Relationship Id="rId4"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6.png"/><Relationship Id="rId2" Type="http://schemas.openxmlformats.org/officeDocument/2006/relationships/tags" Target="../tags/tag186.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7.png"/><Relationship Id="rId2" Type="http://schemas.openxmlformats.org/officeDocument/2006/relationships/tags" Target="../tags/tag188.xml"/><Relationship Id="rId1" Type="http://schemas.openxmlformats.org/officeDocument/2006/relationships/vmlDrawing" Target="../drawings/vmlDrawing168.vml"/><Relationship Id="rId6" Type="http://schemas.openxmlformats.org/officeDocument/2006/relationships/image" Target="../media/image2.emf"/><Relationship Id="rId5" Type="http://schemas.openxmlformats.org/officeDocument/2006/relationships/oleObject" Target="../embeddings/oleObject168.bin"/><Relationship Id="rId4"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0.xml"/><Relationship Id="rId1" Type="http://schemas.openxmlformats.org/officeDocument/2006/relationships/vmlDrawing" Target="../drawings/vmlDrawing16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69.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1.xml"/><Relationship Id="rId1" Type="http://schemas.openxmlformats.org/officeDocument/2006/relationships/vmlDrawing" Target="../drawings/vmlDrawing17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0.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2.xml"/><Relationship Id="rId1" Type="http://schemas.openxmlformats.org/officeDocument/2006/relationships/vmlDrawing" Target="../drawings/vmlDrawing171.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71.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3.xml"/><Relationship Id="rId1" Type="http://schemas.openxmlformats.org/officeDocument/2006/relationships/vmlDrawing" Target="../drawings/vmlDrawing172.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72.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4.xml"/><Relationship Id="rId1" Type="http://schemas.openxmlformats.org/officeDocument/2006/relationships/vmlDrawing" Target="../drawings/vmlDrawing173.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73.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5.xml"/><Relationship Id="rId1" Type="http://schemas.openxmlformats.org/officeDocument/2006/relationships/vmlDrawing" Target="../drawings/vmlDrawing17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4.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6.xml"/><Relationship Id="rId1" Type="http://schemas.openxmlformats.org/officeDocument/2006/relationships/vmlDrawing" Target="../drawings/vmlDrawing17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5.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7.xml"/><Relationship Id="rId1" Type="http://schemas.openxmlformats.org/officeDocument/2006/relationships/vmlDrawing" Target="../drawings/vmlDrawing17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6.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198.xml"/><Relationship Id="rId1" Type="http://schemas.openxmlformats.org/officeDocument/2006/relationships/vmlDrawing" Target="../drawings/vmlDrawing17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7.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9.xml"/><Relationship Id="rId1" Type="http://schemas.openxmlformats.org/officeDocument/2006/relationships/vmlDrawing" Target="../drawings/vmlDrawing17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8.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0.xml"/><Relationship Id="rId1" Type="http://schemas.openxmlformats.org/officeDocument/2006/relationships/vmlDrawing" Target="../drawings/vmlDrawing17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9.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1.xml"/><Relationship Id="rId1" Type="http://schemas.openxmlformats.org/officeDocument/2006/relationships/vmlDrawing" Target="../drawings/vmlDrawing18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8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2.xml"/><Relationship Id="rId1" Type="http://schemas.openxmlformats.org/officeDocument/2006/relationships/vmlDrawing" Target="../drawings/vmlDrawing18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81.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3.xml"/><Relationship Id="rId1" Type="http://schemas.openxmlformats.org/officeDocument/2006/relationships/vmlDrawing" Target="../drawings/vmlDrawing18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82.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04.xml"/><Relationship Id="rId1" Type="http://schemas.openxmlformats.org/officeDocument/2006/relationships/vmlDrawing" Target="../drawings/vmlDrawing183.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3.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05.xml"/><Relationship Id="rId1" Type="http://schemas.openxmlformats.org/officeDocument/2006/relationships/vmlDrawing" Target="../drawings/vmlDrawing184.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4.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06.xml"/><Relationship Id="rId1" Type="http://schemas.openxmlformats.org/officeDocument/2006/relationships/vmlDrawing" Target="../drawings/vmlDrawing185.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5.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07.xml"/><Relationship Id="rId1" Type="http://schemas.openxmlformats.org/officeDocument/2006/relationships/vmlDrawing" Target="../drawings/vmlDrawing186.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6.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08.xml"/><Relationship Id="rId1" Type="http://schemas.openxmlformats.org/officeDocument/2006/relationships/vmlDrawing" Target="../drawings/vmlDrawing187.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7.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09.xml"/><Relationship Id="rId1" Type="http://schemas.openxmlformats.org/officeDocument/2006/relationships/vmlDrawing" Target="../drawings/vmlDrawing188.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88.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10.xml"/><Relationship Id="rId1" Type="http://schemas.openxmlformats.org/officeDocument/2006/relationships/vmlDrawing" Target="../drawings/vmlDrawing189.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89.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11.xml"/><Relationship Id="rId1" Type="http://schemas.openxmlformats.org/officeDocument/2006/relationships/vmlDrawing" Target="../drawings/vmlDrawing190.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90.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12.xml"/><Relationship Id="rId1" Type="http://schemas.openxmlformats.org/officeDocument/2006/relationships/vmlDrawing" Target="../drawings/vmlDrawing191.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91.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13.xml"/><Relationship Id="rId1" Type="http://schemas.openxmlformats.org/officeDocument/2006/relationships/vmlDrawing" Target="../drawings/vmlDrawing192.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92.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14.xml"/><Relationship Id="rId1" Type="http://schemas.openxmlformats.org/officeDocument/2006/relationships/vmlDrawing" Target="../drawings/vmlDrawing193.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93.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15.xml"/><Relationship Id="rId1" Type="http://schemas.openxmlformats.org/officeDocument/2006/relationships/vmlDrawing" Target="../drawings/vmlDrawing194.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94.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16.xml"/><Relationship Id="rId1" Type="http://schemas.openxmlformats.org/officeDocument/2006/relationships/vmlDrawing" Target="../drawings/vmlDrawing195.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95.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7.xml"/><Relationship Id="rId1" Type="http://schemas.openxmlformats.org/officeDocument/2006/relationships/vmlDrawing" Target="../drawings/vmlDrawing19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96.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8.xml"/><Relationship Id="rId1" Type="http://schemas.openxmlformats.org/officeDocument/2006/relationships/vmlDrawing" Target="../drawings/vmlDrawing19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97.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19.xml"/><Relationship Id="rId1" Type="http://schemas.openxmlformats.org/officeDocument/2006/relationships/vmlDrawing" Target="../drawings/vmlDrawing198.vml"/><Relationship Id="rId6" Type="http://schemas.openxmlformats.org/officeDocument/2006/relationships/image" Target="../media/image18.png"/><Relationship Id="rId5" Type="http://schemas.openxmlformats.org/officeDocument/2006/relationships/image" Target="../media/image16.emf"/><Relationship Id="rId4" Type="http://schemas.openxmlformats.org/officeDocument/2006/relationships/oleObject" Target="../embeddings/oleObject198.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0.xml"/><Relationship Id="rId1" Type="http://schemas.openxmlformats.org/officeDocument/2006/relationships/vmlDrawing" Target="../drawings/vmlDrawing19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99.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1.xml"/><Relationship Id="rId1" Type="http://schemas.openxmlformats.org/officeDocument/2006/relationships/vmlDrawing" Target="../drawings/vmlDrawing20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0.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2.xml"/><Relationship Id="rId1" Type="http://schemas.openxmlformats.org/officeDocument/2006/relationships/vmlDrawing" Target="../drawings/vmlDrawing20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1.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3.xml"/><Relationship Id="rId1" Type="http://schemas.openxmlformats.org/officeDocument/2006/relationships/vmlDrawing" Target="../drawings/vmlDrawing20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2.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4.xml"/><Relationship Id="rId1" Type="http://schemas.openxmlformats.org/officeDocument/2006/relationships/vmlDrawing" Target="../drawings/vmlDrawing2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03.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5.xml"/><Relationship Id="rId1" Type="http://schemas.openxmlformats.org/officeDocument/2006/relationships/vmlDrawing" Target="../drawings/vmlDrawing20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4.bin"/></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227.xml"/><Relationship Id="rId7" Type="http://schemas.openxmlformats.org/officeDocument/2006/relationships/image" Target="../media/image3.png"/><Relationship Id="rId2" Type="http://schemas.openxmlformats.org/officeDocument/2006/relationships/tags" Target="../tags/tag226.xml"/><Relationship Id="rId1" Type="http://schemas.openxmlformats.org/officeDocument/2006/relationships/vmlDrawing" Target="../drawings/vmlDrawing205.vml"/><Relationship Id="rId6" Type="http://schemas.openxmlformats.org/officeDocument/2006/relationships/image" Target="../media/image2.emf"/><Relationship Id="rId5" Type="http://schemas.openxmlformats.org/officeDocument/2006/relationships/oleObject" Target="../embeddings/oleObject205.bin"/><Relationship Id="rId4"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8.xml"/><Relationship Id="rId1" Type="http://schemas.openxmlformats.org/officeDocument/2006/relationships/vmlDrawing" Target="../drawings/vmlDrawing20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6.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9.xml"/><Relationship Id="rId1" Type="http://schemas.openxmlformats.org/officeDocument/2006/relationships/vmlDrawing" Target="../drawings/vmlDrawing20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7.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0.xml"/><Relationship Id="rId1" Type="http://schemas.openxmlformats.org/officeDocument/2006/relationships/vmlDrawing" Target="../drawings/vmlDrawing20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8.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1.xml"/><Relationship Id="rId1" Type="http://schemas.openxmlformats.org/officeDocument/2006/relationships/vmlDrawing" Target="../drawings/vmlDrawing20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9.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2.xml"/><Relationship Id="rId1" Type="http://schemas.openxmlformats.org/officeDocument/2006/relationships/vmlDrawing" Target="../drawings/vmlDrawing21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1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33.xml"/><Relationship Id="rId1" Type="http://schemas.openxmlformats.org/officeDocument/2006/relationships/vmlDrawing" Target="../drawings/vmlDrawing211.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1.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34.xml"/><Relationship Id="rId1" Type="http://schemas.openxmlformats.org/officeDocument/2006/relationships/vmlDrawing" Target="../drawings/vmlDrawing212.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2.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35.xml"/><Relationship Id="rId1" Type="http://schemas.openxmlformats.org/officeDocument/2006/relationships/vmlDrawing" Target="../drawings/vmlDrawing213.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3.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36.xml"/><Relationship Id="rId1" Type="http://schemas.openxmlformats.org/officeDocument/2006/relationships/vmlDrawing" Target="../drawings/vmlDrawing214.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4.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37.xml"/><Relationship Id="rId1" Type="http://schemas.openxmlformats.org/officeDocument/2006/relationships/vmlDrawing" Target="../drawings/vmlDrawing215.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5.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38.xml"/><Relationship Id="rId1" Type="http://schemas.openxmlformats.org/officeDocument/2006/relationships/vmlDrawing" Target="../drawings/vmlDrawing216.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6.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39.xml"/><Relationship Id="rId1" Type="http://schemas.openxmlformats.org/officeDocument/2006/relationships/vmlDrawing" Target="../drawings/vmlDrawing217.vml"/><Relationship Id="rId6" Type="http://schemas.openxmlformats.org/officeDocument/2006/relationships/image" Target="../media/image14.png"/><Relationship Id="rId5" Type="http://schemas.openxmlformats.org/officeDocument/2006/relationships/image" Target="../media/image16.emf"/><Relationship Id="rId4" Type="http://schemas.openxmlformats.org/officeDocument/2006/relationships/oleObject" Target="../embeddings/oleObject217.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40.xml"/><Relationship Id="rId1" Type="http://schemas.openxmlformats.org/officeDocument/2006/relationships/vmlDrawing" Target="../drawings/vmlDrawing218.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18.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41.xml"/><Relationship Id="rId1" Type="http://schemas.openxmlformats.org/officeDocument/2006/relationships/vmlDrawing" Target="../drawings/vmlDrawing219.vml"/><Relationship Id="rId6" Type="http://schemas.openxmlformats.org/officeDocument/2006/relationships/image" Target="../media/image17.png"/><Relationship Id="rId5" Type="http://schemas.openxmlformats.org/officeDocument/2006/relationships/image" Target="../media/image8.emf"/><Relationship Id="rId4" Type="http://schemas.openxmlformats.org/officeDocument/2006/relationships/oleObject" Target="../embeddings/oleObject219.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42.xml"/><Relationship Id="rId1" Type="http://schemas.openxmlformats.org/officeDocument/2006/relationships/vmlDrawing" Target="../drawings/vmlDrawing220.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43.xml"/><Relationship Id="rId1" Type="http://schemas.openxmlformats.org/officeDocument/2006/relationships/vmlDrawing" Target="../drawings/vmlDrawing221.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221.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44.xml"/><Relationship Id="rId1" Type="http://schemas.openxmlformats.org/officeDocument/2006/relationships/vmlDrawing" Target="../drawings/vmlDrawing222.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22.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45.xml"/><Relationship Id="rId1" Type="http://schemas.openxmlformats.org/officeDocument/2006/relationships/vmlDrawing" Target="../drawings/vmlDrawing223.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223.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46.xml"/><Relationship Id="rId1" Type="http://schemas.openxmlformats.org/officeDocument/2006/relationships/vmlDrawing" Target="../drawings/vmlDrawing224.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24.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7.xml"/><Relationship Id="rId1" Type="http://schemas.openxmlformats.org/officeDocument/2006/relationships/vmlDrawing" Target="../drawings/vmlDrawing22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25.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8.xml"/><Relationship Id="rId1" Type="http://schemas.openxmlformats.org/officeDocument/2006/relationships/vmlDrawing" Target="../drawings/vmlDrawing22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26.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49.xml"/><Relationship Id="rId1" Type="http://schemas.openxmlformats.org/officeDocument/2006/relationships/vmlDrawing" Target="../drawings/vmlDrawing227.vml"/><Relationship Id="rId6" Type="http://schemas.openxmlformats.org/officeDocument/2006/relationships/image" Target="../media/image18.png"/><Relationship Id="rId5" Type="http://schemas.openxmlformats.org/officeDocument/2006/relationships/image" Target="../media/image2.emf"/><Relationship Id="rId4" Type="http://schemas.openxmlformats.org/officeDocument/2006/relationships/oleObject" Target="../embeddings/oleObject227.bin"/></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9.png"/><Relationship Id="rId2" Type="http://schemas.openxmlformats.org/officeDocument/2006/relationships/vmlDrawing" Target="../drawings/vmlDrawing228.vml"/><Relationship Id="rId1" Type="http://schemas.openxmlformats.org/officeDocument/2006/relationships/themeOverride" Target="../theme/themeOverride3.xml"/><Relationship Id="rId6" Type="http://schemas.openxmlformats.org/officeDocument/2006/relationships/image" Target="../media/image8.emf"/><Relationship Id="rId5" Type="http://schemas.openxmlformats.org/officeDocument/2006/relationships/oleObject" Target="../embeddings/oleObject228.bin"/><Relationship Id="rId4"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51.xml"/><Relationship Id="rId1" Type="http://schemas.openxmlformats.org/officeDocument/2006/relationships/vmlDrawing" Target="../drawings/vmlDrawing229.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229.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2.xml"/><Relationship Id="rId1" Type="http://schemas.openxmlformats.org/officeDocument/2006/relationships/vmlDrawing" Target="../drawings/vmlDrawing23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3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4.bin"/></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3.xml"/><Relationship Id="rId1" Type="http://schemas.openxmlformats.org/officeDocument/2006/relationships/vmlDrawing" Target="../drawings/vmlDrawing23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31.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4.xml"/><Relationship Id="rId1" Type="http://schemas.openxmlformats.org/officeDocument/2006/relationships/vmlDrawing" Target="../drawings/vmlDrawing23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32.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5.xml"/><Relationship Id="rId1" Type="http://schemas.openxmlformats.org/officeDocument/2006/relationships/vmlDrawing" Target="../drawings/vmlDrawing2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3.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6.xml"/><Relationship Id="rId1" Type="http://schemas.openxmlformats.org/officeDocument/2006/relationships/vmlDrawing" Target="../drawings/vmlDrawing23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34.bin"/></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258.xml"/><Relationship Id="rId7" Type="http://schemas.openxmlformats.org/officeDocument/2006/relationships/image" Target="../media/image9.png"/><Relationship Id="rId2" Type="http://schemas.openxmlformats.org/officeDocument/2006/relationships/tags" Target="../tags/tag257.xml"/><Relationship Id="rId1" Type="http://schemas.openxmlformats.org/officeDocument/2006/relationships/vmlDrawing" Target="../drawings/vmlDrawing235.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9.xml"/><Relationship Id="rId1" Type="http://schemas.openxmlformats.org/officeDocument/2006/relationships/vmlDrawing" Target="../drawings/vmlDrawing23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36.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0.xml"/><Relationship Id="rId1" Type="http://schemas.openxmlformats.org/officeDocument/2006/relationships/vmlDrawing" Target="../drawings/vmlDrawing237.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37.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61.xml"/><Relationship Id="rId1" Type="http://schemas.openxmlformats.org/officeDocument/2006/relationships/vmlDrawing" Target="../drawings/vmlDrawing238.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238.bin"/></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263.xml"/><Relationship Id="rId7" Type="http://schemas.openxmlformats.org/officeDocument/2006/relationships/image" Target="../media/image9.png"/><Relationship Id="rId2" Type="http://schemas.openxmlformats.org/officeDocument/2006/relationships/tags" Target="../tags/tag262.xml"/><Relationship Id="rId1" Type="http://schemas.openxmlformats.org/officeDocument/2006/relationships/vmlDrawing" Target="../drawings/vmlDrawing239.vml"/><Relationship Id="rId6" Type="http://schemas.openxmlformats.org/officeDocument/2006/relationships/image" Target="../media/image1.emf"/><Relationship Id="rId5" Type="http://schemas.openxmlformats.org/officeDocument/2006/relationships/oleObject" Target="../embeddings/oleObject239.bin"/><Relationship Id="rId4"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4.xml"/><Relationship Id="rId1" Type="http://schemas.openxmlformats.org/officeDocument/2006/relationships/vmlDrawing" Target="../drawings/vmlDrawing24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4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5.xml"/><Relationship Id="rId1" Type="http://schemas.openxmlformats.org/officeDocument/2006/relationships/vmlDrawing" Target="../drawings/vmlDrawing241.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41.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66.xml"/><Relationship Id="rId1" Type="http://schemas.openxmlformats.org/officeDocument/2006/relationships/vmlDrawing" Target="../drawings/vmlDrawing242.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242.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67.xml"/><Relationship Id="rId1" Type="http://schemas.openxmlformats.org/officeDocument/2006/relationships/vmlDrawing" Target="../drawings/vmlDrawing243.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43.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270.xml"/><Relationship Id="rId7" Type="http://schemas.openxmlformats.org/officeDocument/2006/relationships/image" Target="../media/image3.png"/><Relationship Id="rId2" Type="http://schemas.openxmlformats.org/officeDocument/2006/relationships/tags" Target="../tags/tag269.xml"/><Relationship Id="rId1" Type="http://schemas.openxmlformats.org/officeDocument/2006/relationships/vmlDrawing" Target="../drawings/vmlDrawing245.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image" Target="../media/image4.png"/><Relationship Id="rId2" Type="http://schemas.openxmlformats.org/officeDocument/2006/relationships/tags" Target="../tags/tag271.xml"/><Relationship Id="rId1" Type="http://schemas.openxmlformats.org/officeDocument/2006/relationships/vmlDrawing" Target="../drawings/vmlDrawing246.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74.xml"/><Relationship Id="rId7" Type="http://schemas.openxmlformats.org/officeDocument/2006/relationships/image" Target="../media/image5.png"/><Relationship Id="rId2" Type="http://schemas.openxmlformats.org/officeDocument/2006/relationships/tags" Target="../tags/tag273.xml"/><Relationship Id="rId1" Type="http://schemas.openxmlformats.org/officeDocument/2006/relationships/vmlDrawing" Target="../drawings/vmlDrawing247.vml"/><Relationship Id="rId6" Type="http://schemas.openxmlformats.org/officeDocument/2006/relationships/image" Target="../media/image2.emf"/><Relationship Id="rId5" Type="http://schemas.openxmlformats.org/officeDocument/2006/relationships/oleObject" Target="../embeddings/oleObject166.bin"/><Relationship Id="rId4"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76.xml"/><Relationship Id="rId7" Type="http://schemas.openxmlformats.org/officeDocument/2006/relationships/image" Target="../media/image6.png"/><Relationship Id="rId2" Type="http://schemas.openxmlformats.org/officeDocument/2006/relationships/tags" Target="../tags/tag275.xml"/><Relationship Id="rId1" Type="http://schemas.openxmlformats.org/officeDocument/2006/relationships/vmlDrawing" Target="../drawings/vmlDrawing248.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78.xml"/><Relationship Id="rId7" Type="http://schemas.openxmlformats.org/officeDocument/2006/relationships/image" Target="../media/image7.png"/><Relationship Id="rId2" Type="http://schemas.openxmlformats.org/officeDocument/2006/relationships/tags" Target="../tags/tag277.xml"/><Relationship Id="rId1" Type="http://schemas.openxmlformats.org/officeDocument/2006/relationships/vmlDrawing" Target="../drawings/vmlDrawing249.vml"/><Relationship Id="rId6" Type="http://schemas.openxmlformats.org/officeDocument/2006/relationships/image" Target="../media/image2.emf"/><Relationship Id="rId5" Type="http://schemas.openxmlformats.org/officeDocument/2006/relationships/oleObject" Target="../embeddings/oleObject168.bin"/><Relationship Id="rId4"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9.xml"/><Relationship Id="rId1" Type="http://schemas.openxmlformats.org/officeDocument/2006/relationships/vmlDrawing" Target="../drawings/vmlDrawing25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69.bin"/></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0.xml"/><Relationship Id="rId1" Type="http://schemas.openxmlformats.org/officeDocument/2006/relationships/vmlDrawing" Target="../drawings/vmlDrawing25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26.bin"/></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1.xml"/><Relationship Id="rId1" Type="http://schemas.openxmlformats.org/officeDocument/2006/relationships/vmlDrawing" Target="../drawings/vmlDrawing252.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71.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2.xml"/><Relationship Id="rId1" Type="http://schemas.openxmlformats.org/officeDocument/2006/relationships/vmlDrawing" Target="../drawings/vmlDrawing253.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72.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3.xml"/><Relationship Id="rId1" Type="http://schemas.openxmlformats.org/officeDocument/2006/relationships/vmlDrawing" Target="../drawings/vmlDrawing254.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73.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4.xml"/><Relationship Id="rId1" Type="http://schemas.openxmlformats.org/officeDocument/2006/relationships/vmlDrawing" Target="../drawings/vmlDrawing25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4.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5.xml"/><Relationship Id="rId1" Type="http://schemas.openxmlformats.org/officeDocument/2006/relationships/vmlDrawing" Target="../drawings/vmlDrawing25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5.bin"/></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6.xml"/><Relationship Id="rId1" Type="http://schemas.openxmlformats.org/officeDocument/2006/relationships/vmlDrawing" Target="../drawings/vmlDrawing25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6.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2.png"/><Relationship Id="rId2" Type="http://schemas.openxmlformats.org/officeDocument/2006/relationships/tags" Target="../tags/tag287.xml"/><Relationship Id="rId1" Type="http://schemas.openxmlformats.org/officeDocument/2006/relationships/vmlDrawing" Target="../drawings/vmlDrawing25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7.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8.xml"/><Relationship Id="rId1" Type="http://schemas.openxmlformats.org/officeDocument/2006/relationships/vmlDrawing" Target="../drawings/vmlDrawing25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8.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9.xml"/><Relationship Id="rId1" Type="http://schemas.openxmlformats.org/officeDocument/2006/relationships/vmlDrawing" Target="../drawings/vmlDrawing26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9.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0.xml"/><Relationship Id="rId1" Type="http://schemas.openxmlformats.org/officeDocument/2006/relationships/vmlDrawing" Target="../drawings/vmlDrawing26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8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1.xml"/><Relationship Id="rId1" Type="http://schemas.openxmlformats.org/officeDocument/2006/relationships/vmlDrawing" Target="../drawings/vmlDrawing26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81.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2.xml"/><Relationship Id="rId1" Type="http://schemas.openxmlformats.org/officeDocument/2006/relationships/vmlDrawing" Target="../drawings/vmlDrawing26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82.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293.xml"/><Relationship Id="rId1" Type="http://schemas.openxmlformats.org/officeDocument/2006/relationships/vmlDrawing" Target="../drawings/vmlDrawing264.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3.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294.xml"/><Relationship Id="rId1" Type="http://schemas.openxmlformats.org/officeDocument/2006/relationships/vmlDrawing" Target="../drawings/vmlDrawing265.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4.bin"/></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295.xml"/><Relationship Id="rId1" Type="http://schemas.openxmlformats.org/officeDocument/2006/relationships/vmlDrawing" Target="../drawings/vmlDrawing266.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5.bin"/></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296.xml"/><Relationship Id="rId1" Type="http://schemas.openxmlformats.org/officeDocument/2006/relationships/vmlDrawing" Target="../drawings/vmlDrawing267.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6.bin"/></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297.xml"/><Relationship Id="rId1" Type="http://schemas.openxmlformats.org/officeDocument/2006/relationships/vmlDrawing" Target="../drawings/vmlDrawing268.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7.bin"/></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298.xml"/><Relationship Id="rId1" Type="http://schemas.openxmlformats.org/officeDocument/2006/relationships/vmlDrawing" Target="../drawings/vmlDrawing269.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88.bin"/></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299.xml"/><Relationship Id="rId1" Type="http://schemas.openxmlformats.org/officeDocument/2006/relationships/vmlDrawing" Target="../drawings/vmlDrawing270.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89.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00.xml"/><Relationship Id="rId1" Type="http://schemas.openxmlformats.org/officeDocument/2006/relationships/vmlDrawing" Target="../drawings/vmlDrawing271.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9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8.bin"/></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01.xml"/><Relationship Id="rId1" Type="http://schemas.openxmlformats.org/officeDocument/2006/relationships/vmlDrawing" Target="../drawings/vmlDrawing272.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91.bin"/></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02.xml"/><Relationship Id="rId1" Type="http://schemas.openxmlformats.org/officeDocument/2006/relationships/vmlDrawing" Target="../drawings/vmlDrawing273.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92.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03.xml"/><Relationship Id="rId1" Type="http://schemas.openxmlformats.org/officeDocument/2006/relationships/vmlDrawing" Target="../drawings/vmlDrawing274.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93.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04.xml"/><Relationship Id="rId1" Type="http://schemas.openxmlformats.org/officeDocument/2006/relationships/vmlDrawing" Target="../drawings/vmlDrawing275.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94.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05.xml"/><Relationship Id="rId1" Type="http://schemas.openxmlformats.org/officeDocument/2006/relationships/vmlDrawing" Target="../drawings/vmlDrawing276.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95.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6.xml"/><Relationship Id="rId1" Type="http://schemas.openxmlformats.org/officeDocument/2006/relationships/vmlDrawing" Target="../drawings/vmlDrawing27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96.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7.xml"/><Relationship Id="rId1" Type="http://schemas.openxmlformats.org/officeDocument/2006/relationships/vmlDrawing" Target="../drawings/vmlDrawing27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97.bin"/></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08.xml"/><Relationship Id="rId1" Type="http://schemas.openxmlformats.org/officeDocument/2006/relationships/vmlDrawing" Target="../drawings/vmlDrawing279.vml"/><Relationship Id="rId6" Type="http://schemas.openxmlformats.org/officeDocument/2006/relationships/image" Target="../media/image18.png"/><Relationship Id="rId5" Type="http://schemas.openxmlformats.org/officeDocument/2006/relationships/image" Target="../media/image16.emf"/><Relationship Id="rId4" Type="http://schemas.openxmlformats.org/officeDocument/2006/relationships/oleObject" Target="../embeddings/oleObject198.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9.xml"/><Relationship Id="rId1" Type="http://schemas.openxmlformats.org/officeDocument/2006/relationships/vmlDrawing" Target="../drawings/vmlDrawing28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99.bin"/></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0.xml"/><Relationship Id="rId1" Type="http://schemas.openxmlformats.org/officeDocument/2006/relationships/vmlDrawing" Target="../drawings/vmlDrawing28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1.xml"/><Relationship Id="rId1" Type="http://schemas.openxmlformats.org/officeDocument/2006/relationships/vmlDrawing" Target="../drawings/vmlDrawing28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1.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2.xml"/><Relationship Id="rId1" Type="http://schemas.openxmlformats.org/officeDocument/2006/relationships/vmlDrawing" Target="../drawings/vmlDrawing28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2.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3.xml"/><Relationship Id="rId1" Type="http://schemas.openxmlformats.org/officeDocument/2006/relationships/vmlDrawing" Target="../drawings/vmlDrawing28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03.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4.xml"/><Relationship Id="rId1" Type="http://schemas.openxmlformats.org/officeDocument/2006/relationships/vmlDrawing" Target="../drawings/vmlDrawing28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4.bin"/></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316.xml"/><Relationship Id="rId7" Type="http://schemas.openxmlformats.org/officeDocument/2006/relationships/image" Target="../media/image3.png"/><Relationship Id="rId2" Type="http://schemas.openxmlformats.org/officeDocument/2006/relationships/tags" Target="../tags/tag315.xml"/><Relationship Id="rId1" Type="http://schemas.openxmlformats.org/officeDocument/2006/relationships/vmlDrawing" Target="../drawings/vmlDrawing286.vml"/><Relationship Id="rId6" Type="http://schemas.openxmlformats.org/officeDocument/2006/relationships/image" Target="../media/image2.emf"/><Relationship Id="rId5" Type="http://schemas.openxmlformats.org/officeDocument/2006/relationships/oleObject" Target="../embeddings/oleObject205.bin"/><Relationship Id="rId4"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7.xml"/><Relationship Id="rId1" Type="http://schemas.openxmlformats.org/officeDocument/2006/relationships/vmlDrawing" Target="../drawings/vmlDrawing28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6.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8.xml"/><Relationship Id="rId1" Type="http://schemas.openxmlformats.org/officeDocument/2006/relationships/vmlDrawing" Target="../drawings/vmlDrawing28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7.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9.xml"/><Relationship Id="rId1" Type="http://schemas.openxmlformats.org/officeDocument/2006/relationships/vmlDrawing" Target="../drawings/vmlDrawing28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8.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0.xml"/><Relationship Id="rId1" Type="http://schemas.openxmlformats.org/officeDocument/2006/relationships/vmlDrawing" Target="../drawings/vmlDrawing29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9.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1.xml"/><Relationship Id="rId1" Type="http://schemas.openxmlformats.org/officeDocument/2006/relationships/vmlDrawing" Target="../drawings/vmlDrawing29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1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22.xml"/><Relationship Id="rId1" Type="http://schemas.openxmlformats.org/officeDocument/2006/relationships/vmlDrawing" Target="../drawings/vmlDrawing292.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1.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23.xml"/><Relationship Id="rId1" Type="http://schemas.openxmlformats.org/officeDocument/2006/relationships/vmlDrawing" Target="../drawings/vmlDrawing293.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2.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24.xml"/><Relationship Id="rId1" Type="http://schemas.openxmlformats.org/officeDocument/2006/relationships/vmlDrawing" Target="../drawings/vmlDrawing294.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3.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25.xml"/><Relationship Id="rId1" Type="http://schemas.openxmlformats.org/officeDocument/2006/relationships/vmlDrawing" Target="../drawings/vmlDrawing295.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4.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26.xml"/><Relationship Id="rId1" Type="http://schemas.openxmlformats.org/officeDocument/2006/relationships/vmlDrawing" Target="../drawings/vmlDrawing296.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5.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27.xml"/><Relationship Id="rId1" Type="http://schemas.openxmlformats.org/officeDocument/2006/relationships/vmlDrawing" Target="../drawings/vmlDrawing297.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6.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28.xml"/><Relationship Id="rId1" Type="http://schemas.openxmlformats.org/officeDocument/2006/relationships/vmlDrawing" Target="../drawings/vmlDrawing298.vml"/><Relationship Id="rId6" Type="http://schemas.openxmlformats.org/officeDocument/2006/relationships/image" Target="../media/image14.png"/><Relationship Id="rId5" Type="http://schemas.openxmlformats.org/officeDocument/2006/relationships/image" Target="../media/image16.emf"/><Relationship Id="rId4" Type="http://schemas.openxmlformats.org/officeDocument/2006/relationships/oleObject" Target="../embeddings/oleObject217.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29.xml"/><Relationship Id="rId1" Type="http://schemas.openxmlformats.org/officeDocument/2006/relationships/vmlDrawing" Target="../drawings/vmlDrawing299.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18.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30.xml"/><Relationship Id="rId1" Type="http://schemas.openxmlformats.org/officeDocument/2006/relationships/vmlDrawing" Target="../drawings/vmlDrawing300.vml"/><Relationship Id="rId6" Type="http://schemas.openxmlformats.org/officeDocument/2006/relationships/image" Target="../media/image17.png"/><Relationship Id="rId5" Type="http://schemas.openxmlformats.org/officeDocument/2006/relationships/image" Target="../media/image8.emf"/><Relationship Id="rId4" Type="http://schemas.openxmlformats.org/officeDocument/2006/relationships/oleObject" Target="../embeddings/oleObject219.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31.xml"/><Relationship Id="rId1" Type="http://schemas.openxmlformats.org/officeDocument/2006/relationships/vmlDrawing" Target="../drawings/vmlDrawing301.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2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31.bin"/></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32.xml"/><Relationship Id="rId1" Type="http://schemas.openxmlformats.org/officeDocument/2006/relationships/vmlDrawing" Target="../drawings/vmlDrawing302.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221.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33.xml"/><Relationship Id="rId1" Type="http://schemas.openxmlformats.org/officeDocument/2006/relationships/vmlDrawing" Target="../drawings/vmlDrawing303.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22.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34.xml"/><Relationship Id="rId1" Type="http://schemas.openxmlformats.org/officeDocument/2006/relationships/vmlDrawing" Target="../drawings/vmlDrawing304.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223.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35.xml"/><Relationship Id="rId1" Type="http://schemas.openxmlformats.org/officeDocument/2006/relationships/vmlDrawing" Target="../drawings/vmlDrawing305.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24.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6.xml"/><Relationship Id="rId1" Type="http://schemas.openxmlformats.org/officeDocument/2006/relationships/vmlDrawing" Target="../drawings/vmlDrawing30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25.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7.xml"/><Relationship Id="rId1" Type="http://schemas.openxmlformats.org/officeDocument/2006/relationships/vmlDrawing" Target="../drawings/vmlDrawing30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26.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38.xml"/><Relationship Id="rId1" Type="http://schemas.openxmlformats.org/officeDocument/2006/relationships/vmlDrawing" Target="../drawings/vmlDrawing308.vml"/><Relationship Id="rId6" Type="http://schemas.openxmlformats.org/officeDocument/2006/relationships/image" Target="../media/image18.png"/><Relationship Id="rId5" Type="http://schemas.openxmlformats.org/officeDocument/2006/relationships/image" Target="../media/image2.emf"/><Relationship Id="rId4" Type="http://schemas.openxmlformats.org/officeDocument/2006/relationships/oleObject" Target="../embeddings/oleObject227.bin"/></Relationships>
</file>

<file path=ppt/slideLayouts/_rels/slideLayout307.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image" Target="../media/image9.png"/><Relationship Id="rId2" Type="http://schemas.openxmlformats.org/officeDocument/2006/relationships/vmlDrawing" Target="../drawings/vmlDrawing309.vml"/><Relationship Id="rId1" Type="http://schemas.openxmlformats.org/officeDocument/2006/relationships/themeOverride" Target="../theme/themeOverride4.xml"/><Relationship Id="rId6" Type="http://schemas.openxmlformats.org/officeDocument/2006/relationships/image" Target="../media/image8.emf"/><Relationship Id="rId5" Type="http://schemas.openxmlformats.org/officeDocument/2006/relationships/oleObject" Target="../embeddings/oleObject228.bin"/><Relationship Id="rId4"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40.xml"/><Relationship Id="rId1" Type="http://schemas.openxmlformats.org/officeDocument/2006/relationships/vmlDrawing" Target="../drawings/vmlDrawing310.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229.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1.xml"/><Relationship Id="rId1" Type="http://schemas.openxmlformats.org/officeDocument/2006/relationships/vmlDrawing" Target="../drawings/vmlDrawing31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3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37.xml"/><Relationship Id="rId1" Type="http://schemas.openxmlformats.org/officeDocument/2006/relationships/vmlDrawing" Target="../drawings/vmlDrawing32.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32.bin"/></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2.xml"/><Relationship Id="rId1" Type="http://schemas.openxmlformats.org/officeDocument/2006/relationships/vmlDrawing" Target="../drawings/vmlDrawing31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31.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3.xml"/><Relationship Id="rId1" Type="http://schemas.openxmlformats.org/officeDocument/2006/relationships/vmlDrawing" Target="../drawings/vmlDrawing31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32.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4.xml"/><Relationship Id="rId1" Type="http://schemas.openxmlformats.org/officeDocument/2006/relationships/vmlDrawing" Target="../drawings/vmlDrawing314.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3.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5.xml"/><Relationship Id="rId1" Type="http://schemas.openxmlformats.org/officeDocument/2006/relationships/vmlDrawing" Target="../drawings/vmlDrawing31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34.bin"/></Relationships>
</file>

<file path=ppt/slideLayouts/_rels/slideLayout314.xml.rels><?xml version="1.0" encoding="UTF-8" standalone="yes"?>
<Relationships xmlns="http://schemas.openxmlformats.org/package/2006/relationships"><Relationship Id="rId3" Type="http://schemas.openxmlformats.org/officeDocument/2006/relationships/tags" Target="../tags/tag347.xml"/><Relationship Id="rId7" Type="http://schemas.openxmlformats.org/officeDocument/2006/relationships/image" Target="../media/image9.png"/><Relationship Id="rId2" Type="http://schemas.openxmlformats.org/officeDocument/2006/relationships/tags" Target="../tags/tag346.xml"/><Relationship Id="rId1" Type="http://schemas.openxmlformats.org/officeDocument/2006/relationships/vmlDrawing" Target="../drawings/vmlDrawing316.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8.xml"/><Relationship Id="rId1" Type="http://schemas.openxmlformats.org/officeDocument/2006/relationships/vmlDrawing" Target="../drawings/vmlDrawing317.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36.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9.xml"/><Relationship Id="rId1" Type="http://schemas.openxmlformats.org/officeDocument/2006/relationships/vmlDrawing" Target="../drawings/vmlDrawing31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37.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50.xml"/><Relationship Id="rId1" Type="http://schemas.openxmlformats.org/officeDocument/2006/relationships/vmlDrawing" Target="../drawings/vmlDrawing319.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238.bin"/></Relationships>
</file>

<file path=ppt/slideLayouts/_rels/slideLayout318.xml.rels><?xml version="1.0" encoding="UTF-8" standalone="yes"?>
<Relationships xmlns="http://schemas.openxmlformats.org/package/2006/relationships"><Relationship Id="rId3" Type="http://schemas.openxmlformats.org/officeDocument/2006/relationships/tags" Target="../tags/tag352.xml"/><Relationship Id="rId7" Type="http://schemas.openxmlformats.org/officeDocument/2006/relationships/image" Target="../media/image9.png"/><Relationship Id="rId2" Type="http://schemas.openxmlformats.org/officeDocument/2006/relationships/tags" Target="../tags/tag351.xml"/><Relationship Id="rId1" Type="http://schemas.openxmlformats.org/officeDocument/2006/relationships/vmlDrawing" Target="../drawings/vmlDrawing320.vml"/><Relationship Id="rId6" Type="http://schemas.openxmlformats.org/officeDocument/2006/relationships/image" Target="../media/image1.emf"/><Relationship Id="rId5" Type="http://schemas.openxmlformats.org/officeDocument/2006/relationships/oleObject" Target="../embeddings/oleObject239.bin"/><Relationship Id="rId4" Type="http://schemas.openxmlformats.org/officeDocument/2006/relationships/slideMaster" Target="../slideMasters/slideMaster4.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3.xml"/><Relationship Id="rId1" Type="http://schemas.openxmlformats.org/officeDocument/2006/relationships/vmlDrawing" Target="../drawings/vmlDrawing321.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4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33.bin"/></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4.xml"/><Relationship Id="rId1" Type="http://schemas.openxmlformats.org/officeDocument/2006/relationships/vmlDrawing" Target="../drawings/vmlDrawing32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41.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55.xml"/><Relationship Id="rId1" Type="http://schemas.openxmlformats.org/officeDocument/2006/relationships/vmlDrawing" Target="../drawings/vmlDrawing323.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242.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356.xml"/><Relationship Id="rId1" Type="http://schemas.openxmlformats.org/officeDocument/2006/relationships/vmlDrawing" Target="../drawings/vmlDrawing324.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43.bin"/></Relationships>
</file>

<file path=ppt/slideLayouts/_rels/slideLayout323.xml.rels><?xml version="1.0" encoding="UTF-8" standalone="yes"?>
<Relationships xmlns="http://schemas.openxmlformats.org/package/2006/relationships"><Relationship Id="rId3" Type="http://schemas.openxmlformats.org/officeDocument/2006/relationships/tags" Target="../tags/tag359.xml"/><Relationship Id="rId7" Type="http://schemas.openxmlformats.org/officeDocument/2006/relationships/image" Target="../media/image3.png"/><Relationship Id="rId2" Type="http://schemas.openxmlformats.org/officeDocument/2006/relationships/tags" Target="../tags/tag358.xml"/><Relationship Id="rId1" Type="http://schemas.openxmlformats.org/officeDocument/2006/relationships/vmlDrawing" Target="../drawings/vmlDrawing326.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361.xml"/><Relationship Id="rId7" Type="http://schemas.openxmlformats.org/officeDocument/2006/relationships/image" Target="../media/image4.png"/><Relationship Id="rId2" Type="http://schemas.openxmlformats.org/officeDocument/2006/relationships/tags" Target="../tags/tag360.xml"/><Relationship Id="rId1" Type="http://schemas.openxmlformats.org/officeDocument/2006/relationships/vmlDrawing" Target="../drawings/vmlDrawing327.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363.xml"/><Relationship Id="rId7" Type="http://schemas.openxmlformats.org/officeDocument/2006/relationships/image" Target="../media/image5.png"/><Relationship Id="rId2" Type="http://schemas.openxmlformats.org/officeDocument/2006/relationships/tags" Target="../tags/tag362.xml"/><Relationship Id="rId1" Type="http://schemas.openxmlformats.org/officeDocument/2006/relationships/vmlDrawing" Target="../drawings/vmlDrawing328.vml"/><Relationship Id="rId6" Type="http://schemas.openxmlformats.org/officeDocument/2006/relationships/image" Target="../media/image2.emf"/><Relationship Id="rId5" Type="http://schemas.openxmlformats.org/officeDocument/2006/relationships/oleObject" Target="../embeddings/oleObject166.bin"/><Relationship Id="rId4"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365.xml"/><Relationship Id="rId7" Type="http://schemas.openxmlformats.org/officeDocument/2006/relationships/image" Target="../media/image6.png"/><Relationship Id="rId2" Type="http://schemas.openxmlformats.org/officeDocument/2006/relationships/tags" Target="../tags/tag364.xml"/><Relationship Id="rId1" Type="http://schemas.openxmlformats.org/officeDocument/2006/relationships/vmlDrawing" Target="../drawings/vmlDrawing329.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367.xml"/><Relationship Id="rId7" Type="http://schemas.openxmlformats.org/officeDocument/2006/relationships/image" Target="../media/image7.png"/><Relationship Id="rId2" Type="http://schemas.openxmlformats.org/officeDocument/2006/relationships/tags" Target="../tags/tag366.xml"/><Relationship Id="rId1" Type="http://schemas.openxmlformats.org/officeDocument/2006/relationships/vmlDrawing" Target="../drawings/vmlDrawing330.vml"/><Relationship Id="rId6" Type="http://schemas.openxmlformats.org/officeDocument/2006/relationships/image" Target="../media/image2.emf"/><Relationship Id="rId5" Type="http://schemas.openxmlformats.org/officeDocument/2006/relationships/oleObject" Target="../embeddings/oleObject168.bin"/><Relationship Id="rId4"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8.xml"/><Relationship Id="rId1" Type="http://schemas.openxmlformats.org/officeDocument/2006/relationships/vmlDrawing" Target="../drawings/vmlDrawing33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69.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9.xml"/><Relationship Id="rId1" Type="http://schemas.openxmlformats.org/officeDocument/2006/relationships/vmlDrawing" Target="../drawings/vmlDrawing33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4.bin"/></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0.xml"/><Relationship Id="rId1" Type="http://schemas.openxmlformats.org/officeDocument/2006/relationships/vmlDrawing" Target="../drawings/vmlDrawing333.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71.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1.xml"/><Relationship Id="rId1" Type="http://schemas.openxmlformats.org/officeDocument/2006/relationships/vmlDrawing" Target="../drawings/vmlDrawing334.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72.bin"/></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2.xml"/><Relationship Id="rId1" Type="http://schemas.openxmlformats.org/officeDocument/2006/relationships/vmlDrawing" Target="../drawings/vmlDrawing335.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73.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3.xml"/><Relationship Id="rId1" Type="http://schemas.openxmlformats.org/officeDocument/2006/relationships/vmlDrawing" Target="../drawings/vmlDrawing33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4.bin"/></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4.xml"/><Relationship Id="rId1" Type="http://schemas.openxmlformats.org/officeDocument/2006/relationships/vmlDrawing" Target="../drawings/vmlDrawing33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5.bin"/></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5.xml"/><Relationship Id="rId1" Type="http://schemas.openxmlformats.org/officeDocument/2006/relationships/vmlDrawing" Target="../drawings/vmlDrawing33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6.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2.png"/><Relationship Id="rId2" Type="http://schemas.openxmlformats.org/officeDocument/2006/relationships/tags" Target="../tags/tag376.xml"/><Relationship Id="rId1" Type="http://schemas.openxmlformats.org/officeDocument/2006/relationships/vmlDrawing" Target="../drawings/vmlDrawing33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7.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7.xml"/><Relationship Id="rId1" Type="http://schemas.openxmlformats.org/officeDocument/2006/relationships/vmlDrawing" Target="../drawings/vmlDrawing34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8.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8.xml"/><Relationship Id="rId1" Type="http://schemas.openxmlformats.org/officeDocument/2006/relationships/vmlDrawing" Target="../drawings/vmlDrawing34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9.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9.xml"/><Relationship Id="rId1" Type="http://schemas.openxmlformats.org/officeDocument/2006/relationships/vmlDrawing" Target="../drawings/vmlDrawing34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8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5.bin"/></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80.xml"/><Relationship Id="rId1" Type="http://schemas.openxmlformats.org/officeDocument/2006/relationships/vmlDrawing" Target="../drawings/vmlDrawing34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81.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81.xml"/><Relationship Id="rId1" Type="http://schemas.openxmlformats.org/officeDocument/2006/relationships/vmlDrawing" Target="../drawings/vmlDrawing34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82.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82.xml"/><Relationship Id="rId1" Type="http://schemas.openxmlformats.org/officeDocument/2006/relationships/vmlDrawing" Target="../drawings/vmlDrawing345.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3.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83.xml"/><Relationship Id="rId1" Type="http://schemas.openxmlformats.org/officeDocument/2006/relationships/vmlDrawing" Target="../drawings/vmlDrawing346.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4.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84.xml"/><Relationship Id="rId1" Type="http://schemas.openxmlformats.org/officeDocument/2006/relationships/vmlDrawing" Target="../drawings/vmlDrawing347.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5.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85.xml"/><Relationship Id="rId1" Type="http://schemas.openxmlformats.org/officeDocument/2006/relationships/vmlDrawing" Target="../drawings/vmlDrawing348.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6.bin"/></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86.xml"/><Relationship Id="rId1" Type="http://schemas.openxmlformats.org/officeDocument/2006/relationships/vmlDrawing" Target="../drawings/vmlDrawing349.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187.bin"/></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87.xml"/><Relationship Id="rId1" Type="http://schemas.openxmlformats.org/officeDocument/2006/relationships/vmlDrawing" Target="../drawings/vmlDrawing350.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88.bin"/></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88.xml"/><Relationship Id="rId1" Type="http://schemas.openxmlformats.org/officeDocument/2006/relationships/vmlDrawing" Target="../drawings/vmlDrawing351.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89.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89.xml"/><Relationship Id="rId1" Type="http://schemas.openxmlformats.org/officeDocument/2006/relationships/vmlDrawing" Target="../drawings/vmlDrawing352.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90.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image" Target="../media/image18.png"/><Relationship Id="rId5" Type="http://schemas.openxmlformats.org/officeDocument/2006/relationships/image" Target="../media/image16.emf"/><Relationship Id="rId4" Type="http://schemas.openxmlformats.org/officeDocument/2006/relationships/oleObject" Target="../embeddings/oleObject36.bin"/></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90.xml"/><Relationship Id="rId1" Type="http://schemas.openxmlformats.org/officeDocument/2006/relationships/vmlDrawing" Target="../drawings/vmlDrawing353.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91.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91.xml"/><Relationship Id="rId1" Type="http://schemas.openxmlformats.org/officeDocument/2006/relationships/vmlDrawing" Target="../drawings/vmlDrawing354.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92.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92.xml"/><Relationship Id="rId1" Type="http://schemas.openxmlformats.org/officeDocument/2006/relationships/vmlDrawing" Target="../drawings/vmlDrawing355.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93.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93.xml"/><Relationship Id="rId1" Type="http://schemas.openxmlformats.org/officeDocument/2006/relationships/vmlDrawing" Target="../drawings/vmlDrawing356.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194.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94.xml"/><Relationship Id="rId1" Type="http://schemas.openxmlformats.org/officeDocument/2006/relationships/vmlDrawing" Target="../drawings/vmlDrawing357.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195.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5.xml"/><Relationship Id="rId1" Type="http://schemas.openxmlformats.org/officeDocument/2006/relationships/vmlDrawing" Target="../drawings/vmlDrawing35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96.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6.xml"/><Relationship Id="rId1" Type="http://schemas.openxmlformats.org/officeDocument/2006/relationships/vmlDrawing" Target="../drawings/vmlDrawing35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97.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397.xml"/><Relationship Id="rId1" Type="http://schemas.openxmlformats.org/officeDocument/2006/relationships/vmlDrawing" Target="../drawings/vmlDrawing360.vml"/><Relationship Id="rId6" Type="http://schemas.openxmlformats.org/officeDocument/2006/relationships/image" Target="../media/image18.png"/><Relationship Id="rId5" Type="http://schemas.openxmlformats.org/officeDocument/2006/relationships/image" Target="../media/image16.emf"/><Relationship Id="rId4" Type="http://schemas.openxmlformats.org/officeDocument/2006/relationships/oleObject" Target="../embeddings/oleObject198.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8.xml"/><Relationship Id="rId1" Type="http://schemas.openxmlformats.org/officeDocument/2006/relationships/vmlDrawing" Target="../drawings/vmlDrawing36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99.bin"/></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9.xml"/><Relationship Id="rId1" Type="http://schemas.openxmlformats.org/officeDocument/2006/relationships/vmlDrawing" Target="../drawings/vmlDrawing36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3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7.bin"/></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0.xml"/><Relationship Id="rId1" Type="http://schemas.openxmlformats.org/officeDocument/2006/relationships/vmlDrawing" Target="../drawings/vmlDrawing36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1.bin"/></Relationships>
</file>

<file path=ppt/slideLayouts/_rels/slideLayout3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1.xml"/><Relationship Id="rId1" Type="http://schemas.openxmlformats.org/officeDocument/2006/relationships/vmlDrawing" Target="../drawings/vmlDrawing36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2.bin"/></Relationships>
</file>

<file path=ppt/slideLayouts/_rels/slideLayout3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2.xml"/><Relationship Id="rId1" Type="http://schemas.openxmlformats.org/officeDocument/2006/relationships/vmlDrawing" Target="../drawings/vmlDrawing36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03.bin"/></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3.xml"/><Relationship Id="rId1" Type="http://schemas.openxmlformats.org/officeDocument/2006/relationships/vmlDrawing" Target="../drawings/vmlDrawing36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4.bin"/></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405.xml"/><Relationship Id="rId7" Type="http://schemas.openxmlformats.org/officeDocument/2006/relationships/image" Target="../media/image3.png"/><Relationship Id="rId2" Type="http://schemas.openxmlformats.org/officeDocument/2006/relationships/tags" Target="../tags/tag404.xml"/><Relationship Id="rId1" Type="http://schemas.openxmlformats.org/officeDocument/2006/relationships/vmlDrawing" Target="../drawings/vmlDrawing367.vml"/><Relationship Id="rId6" Type="http://schemas.openxmlformats.org/officeDocument/2006/relationships/image" Target="../media/image2.emf"/><Relationship Id="rId5" Type="http://schemas.openxmlformats.org/officeDocument/2006/relationships/oleObject" Target="../embeddings/oleObject205.bin"/><Relationship Id="rId4" Type="http://schemas.openxmlformats.org/officeDocument/2006/relationships/slideMaster" Target="../slideMasters/slideMaster5.xml"/></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6.xml"/><Relationship Id="rId1" Type="http://schemas.openxmlformats.org/officeDocument/2006/relationships/vmlDrawing" Target="../drawings/vmlDrawing36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6.bin"/></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7.xml"/><Relationship Id="rId1" Type="http://schemas.openxmlformats.org/officeDocument/2006/relationships/vmlDrawing" Target="../drawings/vmlDrawing36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7.bin"/></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8.xml"/><Relationship Id="rId1" Type="http://schemas.openxmlformats.org/officeDocument/2006/relationships/vmlDrawing" Target="../drawings/vmlDrawing37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8.bin"/></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9.xml"/><Relationship Id="rId1" Type="http://schemas.openxmlformats.org/officeDocument/2006/relationships/vmlDrawing" Target="../drawings/vmlDrawing37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09.bin"/></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0.xml"/><Relationship Id="rId1" Type="http://schemas.openxmlformats.org/officeDocument/2006/relationships/vmlDrawing" Target="../drawings/vmlDrawing37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1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3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8.bin"/></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11.xml"/><Relationship Id="rId1" Type="http://schemas.openxmlformats.org/officeDocument/2006/relationships/vmlDrawing" Target="../drawings/vmlDrawing373.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1.bin"/></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12.xml"/><Relationship Id="rId1" Type="http://schemas.openxmlformats.org/officeDocument/2006/relationships/vmlDrawing" Target="../drawings/vmlDrawing374.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2.bin"/></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13.xml"/><Relationship Id="rId1" Type="http://schemas.openxmlformats.org/officeDocument/2006/relationships/vmlDrawing" Target="../drawings/vmlDrawing375.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3.bin"/></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14.xml"/><Relationship Id="rId1" Type="http://schemas.openxmlformats.org/officeDocument/2006/relationships/vmlDrawing" Target="../drawings/vmlDrawing376.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4.bin"/></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15.xml"/><Relationship Id="rId1" Type="http://schemas.openxmlformats.org/officeDocument/2006/relationships/vmlDrawing" Target="../drawings/vmlDrawing377.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5.bin"/></Relationships>
</file>

<file path=ppt/slideLayouts/_rels/slideLayout37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16.xml"/><Relationship Id="rId1" Type="http://schemas.openxmlformats.org/officeDocument/2006/relationships/vmlDrawing" Target="../drawings/vmlDrawing378.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216.bin"/></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17.xml"/><Relationship Id="rId1" Type="http://schemas.openxmlformats.org/officeDocument/2006/relationships/vmlDrawing" Target="../drawings/vmlDrawing379.vml"/><Relationship Id="rId6" Type="http://schemas.openxmlformats.org/officeDocument/2006/relationships/image" Target="../media/image14.png"/><Relationship Id="rId5" Type="http://schemas.openxmlformats.org/officeDocument/2006/relationships/image" Target="../media/image16.emf"/><Relationship Id="rId4" Type="http://schemas.openxmlformats.org/officeDocument/2006/relationships/oleObject" Target="../embeddings/oleObject217.bin"/></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18.xml"/><Relationship Id="rId1" Type="http://schemas.openxmlformats.org/officeDocument/2006/relationships/vmlDrawing" Target="../drawings/vmlDrawing380.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18.bin"/></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19.xml"/><Relationship Id="rId1" Type="http://schemas.openxmlformats.org/officeDocument/2006/relationships/vmlDrawing" Target="../drawings/vmlDrawing381.vml"/><Relationship Id="rId6" Type="http://schemas.openxmlformats.org/officeDocument/2006/relationships/image" Target="../media/image17.png"/><Relationship Id="rId5" Type="http://schemas.openxmlformats.org/officeDocument/2006/relationships/image" Target="../media/image8.emf"/><Relationship Id="rId4" Type="http://schemas.openxmlformats.org/officeDocument/2006/relationships/oleObject" Target="../embeddings/oleObject219.bin"/></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20.xml"/><Relationship Id="rId1" Type="http://schemas.openxmlformats.org/officeDocument/2006/relationships/vmlDrawing" Target="../drawings/vmlDrawing382.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20.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3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9.bin"/></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21.xml"/><Relationship Id="rId1" Type="http://schemas.openxmlformats.org/officeDocument/2006/relationships/vmlDrawing" Target="../drawings/vmlDrawing383.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221.bin"/></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22.xml"/><Relationship Id="rId1" Type="http://schemas.openxmlformats.org/officeDocument/2006/relationships/vmlDrawing" Target="../drawings/vmlDrawing384.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22.bin"/></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23.xml"/><Relationship Id="rId1" Type="http://schemas.openxmlformats.org/officeDocument/2006/relationships/vmlDrawing" Target="../drawings/vmlDrawing385.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223.bin"/></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24.xml"/><Relationship Id="rId1" Type="http://schemas.openxmlformats.org/officeDocument/2006/relationships/vmlDrawing" Target="../drawings/vmlDrawing386.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224.bin"/></Relationships>
</file>

<file path=ppt/slideLayouts/_rels/slideLayout3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5.xml"/><Relationship Id="rId1" Type="http://schemas.openxmlformats.org/officeDocument/2006/relationships/vmlDrawing" Target="../drawings/vmlDrawing38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25.bin"/></Relationships>
</file>

<file path=ppt/slideLayouts/_rels/slideLayout3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6.xml"/><Relationship Id="rId1" Type="http://schemas.openxmlformats.org/officeDocument/2006/relationships/vmlDrawing" Target="../drawings/vmlDrawing38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26.bin"/></Relationships>
</file>

<file path=ppt/slideLayouts/_rels/slideLayout38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27.xml"/><Relationship Id="rId1" Type="http://schemas.openxmlformats.org/officeDocument/2006/relationships/vmlDrawing" Target="../drawings/vmlDrawing389.vml"/><Relationship Id="rId6" Type="http://schemas.openxmlformats.org/officeDocument/2006/relationships/image" Target="../media/image18.png"/><Relationship Id="rId5" Type="http://schemas.openxmlformats.org/officeDocument/2006/relationships/image" Target="../media/image2.emf"/><Relationship Id="rId4" Type="http://schemas.openxmlformats.org/officeDocument/2006/relationships/oleObject" Target="../embeddings/oleObject227.bin"/></Relationships>
</file>

<file path=ppt/slideLayouts/_rels/slideLayout387.xml.rels><?xml version="1.0" encoding="UTF-8" standalone="yes"?>
<Relationships xmlns="http://schemas.openxmlformats.org/package/2006/relationships"><Relationship Id="rId3" Type="http://schemas.openxmlformats.org/officeDocument/2006/relationships/tags" Target="../tags/tag428.xml"/><Relationship Id="rId7" Type="http://schemas.openxmlformats.org/officeDocument/2006/relationships/image" Target="../media/image9.png"/><Relationship Id="rId2" Type="http://schemas.openxmlformats.org/officeDocument/2006/relationships/vmlDrawing" Target="../drawings/vmlDrawing390.vml"/><Relationship Id="rId1" Type="http://schemas.openxmlformats.org/officeDocument/2006/relationships/themeOverride" Target="../theme/themeOverride5.xml"/><Relationship Id="rId6" Type="http://schemas.openxmlformats.org/officeDocument/2006/relationships/image" Target="../media/image8.emf"/><Relationship Id="rId5" Type="http://schemas.openxmlformats.org/officeDocument/2006/relationships/oleObject" Target="../embeddings/oleObject228.bin"/><Relationship Id="rId4" Type="http://schemas.openxmlformats.org/officeDocument/2006/relationships/slideMaster" Target="../slideMasters/slideMaster5.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29.xml"/><Relationship Id="rId1" Type="http://schemas.openxmlformats.org/officeDocument/2006/relationships/vmlDrawing" Target="../drawings/vmlDrawing391.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229.bin"/></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0.xml"/><Relationship Id="rId1" Type="http://schemas.openxmlformats.org/officeDocument/2006/relationships/vmlDrawing" Target="../drawings/vmlDrawing39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3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0.bin"/></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1.xml"/><Relationship Id="rId1" Type="http://schemas.openxmlformats.org/officeDocument/2006/relationships/vmlDrawing" Target="../drawings/vmlDrawing39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31.bin"/></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2.xml"/><Relationship Id="rId1" Type="http://schemas.openxmlformats.org/officeDocument/2006/relationships/vmlDrawing" Target="../drawings/vmlDrawing39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32.bin"/></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3.xml"/><Relationship Id="rId1" Type="http://schemas.openxmlformats.org/officeDocument/2006/relationships/vmlDrawing" Target="../drawings/vmlDrawing3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3.bin"/></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4.xml"/><Relationship Id="rId1" Type="http://schemas.openxmlformats.org/officeDocument/2006/relationships/vmlDrawing" Target="../drawings/vmlDrawing39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34.bin"/></Relationships>
</file>

<file path=ppt/slideLayouts/_rels/slideLayout394.xml.rels><?xml version="1.0" encoding="UTF-8" standalone="yes"?>
<Relationships xmlns="http://schemas.openxmlformats.org/package/2006/relationships"><Relationship Id="rId3" Type="http://schemas.openxmlformats.org/officeDocument/2006/relationships/tags" Target="../tags/tag436.xml"/><Relationship Id="rId7" Type="http://schemas.openxmlformats.org/officeDocument/2006/relationships/image" Target="../media/image9.png"/><Relationship Id="rId2" Type="http://schemas.openxmlformats.org/officeDocument/2006/relationships/tags" Target="../tags/tag435.xml"/><Relationship Id="rId1" Type="http://schemas.openxmlformats.org/officeDocument/2006/relationships/vmlDrawing" Target="../drawings/vmlDrawing397.vml"/><Relationship Id="rId6" Type="http://schemas.openxmlformats.org/officeDocument/2006/relationships/image" Target="../media/image1.emf"/><Relationship Id="rId5" Type="http://schemas.openxmlformats.org/officeDocument/2006/relationships/oleObject" Target="../embeddings/oleObject235.bin"/><Relationship Id="rId4" Type="http://schemas.openxmlformats.org/officeDocument/2006/relationships/slideMaster" Target="../slideMasters/slideMaster5.xml"/></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7.xml"/><Relationship Id="rId1" Type="http://schemas.openxmlformats.org/officeDocument/2006/relationships/vmlDrawing" Target="../drawings/vmlDrawing39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36.bin"/></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8.xml"/><Relationship Id="rId1" Type="http://schemas.openxmlformats.org/officeDocument/2006/relationships/vmlDrawing" Target="../drawings/vmlDrawing399.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37.bin"/></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39.xml"/><Relationship Id="rId1" Type="http://schemas.openxmlformats.org/officeDocument/2006/relationships/vmlDrawing" Target="../drawings/vmlDrawing400.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238.bin"/></Relationships>
</file>

<file path=ppt/slideLayouts/_rels/slideLayout398.xml.rels><?xml version="1.0" encoding="UTF-8" standalone="yes"?>
<Relationships xmlns="http://schemas.openxmlformats.org/package/2006/relationships"><Relationship Id="rId3" Type="http://schemas.openxmlformats.org/officeDocument/2006/relationships/tags" Target="../tags/tag441.xml"/><Relationship Id="rId7" Type="http://schemas.openxmlformats.org/officeDocument/2006/relationships/image" Target="../media/image9.png"/><Relationship Id="rId2" Type="http://schemas.openxmlformats.org/officeDocument/2006/relationships/tags" Target="../tags/tag440.xml"/><Relationship Id="rId1" Type="http://schemas.openxmlformats.org/officeDocument/2006/relationships/vmlDrawing" Target="../drawings/vmlDrawing401.vml"/><Relationship Id="rId6" Type="http://schemas.openxmlformats.org/officeDocument/2006/relationships/image" Target="../media/image1.emf"/><Relationship Id="rId5" Type="http://schemas.openxmlformats.org/officeDocument/2006/relationships/oleObject" Target="../embeddings/oleObject239.bin"/><Relationship Id="rId4" Type="http://schemas.openxmlformats.org/officeDocument/2006/relationships/slideMaster" Target="../slideMasters/slideMaster5.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2.xml"/><Relationship Id="rId1" Type="http://schemas.openxmlformats.org/officeDocument/2006/relationships/vmlDrawing" Target="../drawings/vmlDrawing40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40.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3.xml"/><Relationship Id="rId1" Type="http://schemas.openxmlformats.org/officeDocument/2006/relationships/vmlDrawing" Target="../drawings/vmlDrawing403.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41.bin"/></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44.xml"/><Relationship Id="rId1" Type="http://schemas.openxmlformats.org/officeDocument/2006/relationships/vmlDrawing" Target="../drawings/vmlDrawing404.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242.bin"/></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45.xml"/><Relationship Id="rId1" Type="http://schemas.openxmlformats.org/officeDocument/2006/relationships/vmlDrawing" Target="../drawings/vmlDrawing405.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4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3.png"/><Relationship Id="rId2" Type="http://schemas.openxmlformats.org/officeDocument/2006/relationships/tags" Target="../tags/tag48.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4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4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4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4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4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55.xml"/><Relationship Id="rId1" Type="http://schemas.openxmlformats.org/officeDocument/2006/relationships/vmlDrawing" Target="../drawings/vmlDrawing49.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56.xml"/><Relationship Id="rId1" Type="http://schemas.openxmlformats.org/officeDocument/2006/relationships/vmlDrawing" Target="../drawings/vmlDrawing50.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57.xml"/><Relationship Id="rId1" Type="http://schemas.openxmlformats.org/officeDocument/2006/relationships/vmlDrawing" Target="../drawings/vmlDrawing51.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58.xml"/><Relationship Id="rId1" Type="http://schemas.openxmlformats.org/officeDocument/2006/relationships/vmlDrawing" Target="../drawings/vmlDrawing52.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59.xml"/><Relationship Id="rId1" Type="http://schemas.openxmlformats.org/officeDocument/2006/relationships/vmlDrawing" Target="../drawings/vmlDrawing53.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60.xml"/><Relationship Id="rId1" Type="http://schemas.openxmlformats.org/officeDocument/2006/relationships/vmlDrawing" Target="../drawings/vmlDrawing54.v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61.xml"/><Relationship Id="rId1" Type="http://schemas.openxmlformats.org/officeDocument/2006/relationships/vmlDrawing" Target="../drawings/vmlDrawing55.vml"/><Relationship Id="rId6" Type="http://schemas.openxmlformats.org/officeDocument/2006/relationships/image" Target="../media/image14.png"/><Relationship Id="rId5" Type="http://schemas.openxmlformats.org/officeDocument/2006/relationships/image" Target="../media/image16.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62.xml"/><Relationship Id="rId1" Type="http://schemas.openxmlformats.org/officeDocument/2006/relationships/vmlDrawing" Target="../drawings/vmlDrawing56.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63.xml"/><Relationship Id="rId1" Type="http://schemas.openxmlformats.org/officeDocument/2006/relationships/vmlDrawing" Target="../drawings/vmlDrawing57.vml"/><Relationship Id="rId6" Type="http://schemas.openxmlformats.org/officeDocument/2006/relationships/image" Target="../media/image17.png"/><Relationship Id="rId5" Type="http://schemas.openxmlformats.org/officeDocument/2006/relationships/image" Target="../media/image8.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64.xml"/><Relationship Id="rId1" Type="http://schemas.openxmlformats.org/officeDocument/2006/relationships/vmlDrawing" Target="../drawings/vmlDrawing58.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65.xml"/><Relationship Id="rId1" Type="http://schemas.openxmlformats.org/officeDocument/2006/relationships/vmlDrawing" Target="../drawings/vmlDrawing59.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66.xml"/><Relationship Id="rId1" Type="http://schemas.openxmlformats.org/officeDocument/2006/relationships/vmlDrawing" Target="../drawings/vmlDrawing60.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67.xml"/><Relationship Id="rId1" Type="http://schemas.openxmlformats.org/officeDocument/2006/relationships/vmlDrawing" Target="../drawings/vmlDrawing61.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68.xml"/><Relationship Id="rId1" Type="http://schemas.openxmlformats.org/officeDocument/2006/relationships/vmlDrawing" Target="../drawings/vmlDrawing62.vml"/><Relationship Id="rId6" Type="http://schemas.openxmlformats.org/officeDocument/2006/relationships/image" Target="../media/image15.png"/><Relationship Id="rId5" Type="http://schemas.openxmlformats.org/officeDocument/2006/relationships/image" Target="../media/image8.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6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6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71.xml"/><Relationship Id="rId1" Type="http://schemas.openxmlformats.org/officeDocument/2006/relationships/vmlDrawing" Target="../drawings/vmlDrawing65.vml"/><Relationship Id="rId6" Type="http://schemas.openxmlformats.org/officeDocument/2006/relationships/image" Target="../media/image18.png"/><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9.png"/><Relationship Id="rId2" Type="http://schemas.openxmlformats.org/officeDocument/2006/relationships/vmlDrawing" Target="../drawings/vmlDrawing66.vml"/><Relationship Id="rId1" Type="http://schemas.openxmlformats.org/officeDocument/2006/relationships/themeOverride" Target="../theme/themeOverride1.xml"/><Relationship Id="rId6" Type="http://schemas.openxmlformats.org/officeDocument/2006/relationships/image" Target="../media/image8.emf"/><Relationship Id="rId5" Type="http://schemas.openxmlformats.org/officeDocument/2006/relationships/oleObject" Target="../embeddings/oleObject66.bin"/><Relationship Id="rId4"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73.xml"/><Relationship Id="rId1" Type="http://schemas.openxmlformats.org/officeDocument/2006/relationships/vmlDrawing" Target="../drawings/vmlDrawing67.vml"/><Relationship Id="rId6" Type="http://schemas.openxmlformats.org/officeDocument/2006/relationships/image" Target="../media/image14.png"/><Relationship Id="rId5" Type="http://schemas.openxmlformats.org/officeDocument/2006/relationships/image" Target="../media/image8.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vmlDrawing" Target="../drawings/vmlDrawing6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vmlDrawing" Target="../drawings/vmlDrawing6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7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7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7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9.png"/><Relationship Id="rId2" Type="http://schemas.openxmlformats.org/officeDocument/2006/relationships/tags" Target="../tags/tag79.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7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vmlDrawing" Target="../drawings/vmlDrawing75.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83.xml"/><Relationship Id="rId1" Type="http://schemas.openxmlformats.org/officeDocument/2006/relationships/vmlDrawing" Target="../drawings/vmlDrawing76.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9.png"/><Relationship Id="rId2" Type="http://schemas.openxmlformats.org/officeDocument/2006/relationships/tags" Target="../tags/tag84.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vmlDrawing" Target="../drawings/vmlDrawing7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vmlDrawing" Target="../drawings/vmlDrawing79.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88.xml"/><Relationship Id="rId1" Type="http://schemas.openxmlformats.org/officeDocument/2006/relationships/vmlDrawing" Target="../drawings/vmlDrawing80.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89.xml"/><Relationship Id="rId1" Type="http://schemas.openxmlformats.org/officeDocument/2006/relationships/vmlDrawing" Target="../drawings/vmlDrawing81.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3.png"/><Relationship Id="rId2" Type="http://schemas.openxmlformats.org/officeDocument/2006/relationships/tags" Target="../tags/tag91.xml"/><Relationship Id="rId1" Type="http://schemas.openxmlformats.org/officeDocument/2006/relationships/vmlDrawing" Target="../drawings/vmlDrawing83.vml"/><Relationship Id="rId6" Type="http://schemas.openxmlformats.org/officeDocument/2006/relationships/image" Target="../media/image2.emf"/><Relationship Id="rId5" Type="http://schemas.openxmlformats.org/officeDocument/2006/relationships/oleObject" Target="../embeddings/oleObject83.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4.png"/><Relationship Id="rId2" Type="http://schemas.openxmlformats.org/officeDocument/2006/relationships/tags" Target="../tags/tag93.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6.png"/><Relationship Id="rId2" Type="http://schemas.openxmlformats.org/officeDocument/2006/relationships/tags" Target="../tags/tag97.xml"/><Relationship Id="rId1" Type="http://schemas.openxmlformats.org/officeDocument/2006/relationships/vmlDrawing" Target="../drawings/vmlDrawing86.vml"/><Relationship Id="rId6" Type="http://schemas.openxmlformats.org/officeDocument/2006/relationships/image" Target="../media/image2.emf"/><Relationship Id="rId5" Type="http://schemas.openxmlformats.org/officeDocument/2006/relationships/oleObject" Target="../embeddings/oleObject86.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7.png"/><Relationship Id="rId2" Type="http://schemas.openxmlformats.org/officeDocument/2006/relationships/tags" Target="../tags/tag99.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8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8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90.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9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91.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9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92.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2.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9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93.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94.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94.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9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95.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109.xml"/><Relationship Id="rId1" Type="http://schemas.openxmlformats.org/officeDocument/2006/relationships/vmlDrawing" Target="../drawings/vmlDrawing96.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96.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0.xml"/><Relationship Id="rId1" Type="http://schemas.openxmlformats.org/officeDocument/2006/relationships/vmlDrawing" Target="../drawings/vmlDrawing9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97.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1.xml"/><Relationship Id="rId1" Type="http://schemas.openxmlformats.org/officeDocument/2006/relationships/vmlDrawing" Target="../drawings/vmlDrawing9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98.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2.xml"/><Relationship Id="rId1" Type="http://schemas.openxmlformats.org/officeDocument/2006/relationships/vmlDrawing" Target="../drawings/vmlDrawing9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99.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3.xml"/><Relationship Id="rId1" Type="http://schemas.openxmlformats.org/officeDocument/2006/relationships/vmlDrawing" Target="../drawings/vmlDrawing100.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0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004547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196754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77951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24318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60012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07614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0465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05318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61715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99229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8565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87055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8517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78132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20530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76493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54728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0028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833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99368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94001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80761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315655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2863824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4513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30076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316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16921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11315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96194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5713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50475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56238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7"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04904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3478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16729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04017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3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1986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420481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4895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4851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8123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46448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24019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1968489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2022652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66858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66421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45832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5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622715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22993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latin typeface="+mn-lt"/>
                <a:ea typeface="+mn-ea"/>
                <a:cs typeface="+mn-cs"/>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latin typeface="+mn-lt"/>
                <a:ea typeface="+mn-ea"/>
                <a:cs typeface="+mn-cs"/>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62700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67348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3"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3158945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73123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25780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053683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1"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0192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6000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26291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8031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88640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70854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59171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61915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16686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118547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2255882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0160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57658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2855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266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9463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86211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33929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45632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86397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3914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40811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4501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45911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44450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39901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02214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02915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2186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85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47134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62642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3354858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94488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1963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93951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9383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58116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5322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2761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4696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73155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47197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35235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69361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ext uri="{D42A27DB-BD31-4B8C-83A1-F6EECF244321}">
                <p14:modId xmlns:p14="http://schemas.microsoft.com/office/powerpoint/2010/main" val="974542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5"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204771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4732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66203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34060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06946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61154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24687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27855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78410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7936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8747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06836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7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510194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2535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latin typeface="+mn-lt"/>
                <a:ea typeface="+mn-ea"/>
                <a:cs typeface="+mn-cs"/>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latin typeface="+mn-lt"/>
                <a:ea typeface="+mn-ea"/>
                <a:cs typeface="+mn-cs"/>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Tree>
    <p:extLst>
      <p:ext uri="{BB962C8B-B14F-4D97-AF65-F5344CB8AC3E}">
        <p14:creationId xmlns:p14="http://schemas.microsoft.com/office/powerpoint/2010/main" val="922503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52612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2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7790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8146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4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65214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27576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7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8145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0845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7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205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07328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1220467"/>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8726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188078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83336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667582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9052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2365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0679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156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74129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6930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8810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14810962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6097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8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042444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54755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28920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47700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998046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61686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5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166870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58914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1727694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943069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7"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3816330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301320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1"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2199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3578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15909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85291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5"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3142726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494844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79"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atin typeface="+mn-lt"/>
                <a:ea typeface="+mn-ea"/>
                <a:cs typeface="+mn-cs"/>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atin typeface="+mn-lt"/>
                <a:ea typeface="+mn-ea"/>
                <a:cs typeface="+mn-cs"/>
              </a:defRPr>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3036057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66331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3"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atin typeface="+mn-lt"/>
                <a:ea typeface="+mn-ea"/>
                <a:cs typeface="+mn-cs"/>
              </a:defRPr>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mj-lt"/>
                <a:ea typeface="+mj-ea"/>
                <a:cs typeface="+mj-cs"/>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548645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6056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7"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latin typeface="+mn-lt"/>
                <a:ea typeface="+mn-ea"/>
                <a:cs typeface="+mn-cs"/>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2505534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185288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51"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atin typeface="+mn-lt"/>
                <a:ea typeface="+mn-ea"/>
                <a:cs typeface="+mn-cs"/>
              </a:defRPr>
            </a:lvl1pPr>
            <a:lvl2pPr marL="685800" indent="-228600">
              <a:lnSpc>
                <a:spcPct val="90000"/>
              </a:lnSpc>
              <a:spcBef>
                <a:spcPts val="500"/>
              </a:spcBef>
              <a:spcAft>
                <a:spcPts val="0"/>
              </a:spcAft>
              <a:buClr>
                <a:srgbClr val="FFA400"/>
              </a:buClr>
              <a:defRPr sz="28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4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2000" b="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20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75910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747120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5"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atin typeface="+mn-lt"/>
                <a:ea typeface="+mn-ea"/>
                <a:cs typeface="+mn-cs"/>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3378418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835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9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latin typeface="+mn-lt"/>
                <a:ea typeface="+mn-ea"/>
                <a:cs typeface="+mn-cs"/>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072767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82477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273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43430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79589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29536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7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2520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92034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99970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929793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5"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1483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7637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1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2931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475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4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65181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68114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46113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83027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9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97248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3380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1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53302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114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7410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58444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22911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40630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8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072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32052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1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33832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3190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8762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9671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3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22839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2823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7504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66438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66490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084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03904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5987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8020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183670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55"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14841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02454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7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84208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189562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0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97563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78585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27"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90436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8821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5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91540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63040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0884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53509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76443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31626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64647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77237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3829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2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784652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3608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latin typeface="+mn-lt"/>
                <a:ea typeface="+mn-ea"/>
                <a:cs typeface="+mn-cs"/>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latin typeface="+mn-lt"/>
                <a:ea typeface="+mn-ea"/>
                <a:cs typeface="+mn-cs"/>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51504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66810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71"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3362250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031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9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62977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32474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1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216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76992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4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92332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71939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6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07269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98813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09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83184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2924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22323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0934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1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16808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04365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3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2033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96943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6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93972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06646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8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4846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622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4161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06596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3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1354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2293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5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79301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5567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10194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90704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0803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81139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74707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90003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4263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81072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5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33006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93197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37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10621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98906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3054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26597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2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1815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992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5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8523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51555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1095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79324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49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91779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ext uri="{D42A27DB-BD31-4B8C-83A1-F6EECF244321}">
                <p14:modId xmlns:p14="http://schemas.microsoft.com/office/powerpoint/2010/main" val="342232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23"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80287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6539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4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10605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349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7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48495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4045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22415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2027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59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45912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51809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1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45847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00732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4004691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5070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6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latin typeface="+mn-lt"/>
                <a:ea typeface="+mn-ea"/>
                <a:cs typeface="+mn-cs"/>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latin typeface="+mn-lt"/>
                <a:ea typeface="+mn-ea"/>
                <a:cs typeface="+mn-cs"/>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Tree>
    <p:extLst>
      <p:ext uri="{BB962C8B-B14F-4D97-AF65-F5344CB8AC3E}">
        <p14:creationId xmlns:p14="http://schemas.microsoft.com/office/powerpoint/2010/main" val="3774591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604877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94886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1486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1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61293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1581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3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81622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16850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7768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1589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7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1220467"/>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36085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336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30514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44137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0440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934955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45792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78389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0912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88238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95740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41081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3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117531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01168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95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481429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7097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7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577626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02089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0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612828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21249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2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652353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41093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51"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1369267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831828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075"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2057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7620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65703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684321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099"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33118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695256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23"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atin typeface="+mn-lt"/>
                <a:ea typeface="+mn-ea"/>
                <a:cs typeface="+mn-cs"/>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atin typeface="+mn-lt"/>
                <a:ea typeface="+mn-ea"/>
                <a:cs typeface="+mn-cs"/>
              </a:defRPr>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2654860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125062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147"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atin typeface="+mn-lt"/>
                <a:ea typeface="+mn-ea"/>
                <a:cs typeface="+mn-cs"/>
              </a:defRPr>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mj-lt"/>
                <a:ea typeface="+mj-ea"/>
                <a:cs typeface="+mj-cs"/>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098653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23374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171"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latin typeface="+mn-lt"/>
                <a:ea typeface="+mn-ea"/>
                <a:cs typeface="+mn-cs"/>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595963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3434196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195"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atin typeface="+mn-lt"/>
                <a:ea typeface="+mn-ea"/>
                <a:cs typeface="+mn-cs"/>
              </a:defRPr>
            </a:lvl1pPr>
            <a:lvl2pPr marL="685800" indent="-228600">
              <a:lnSpc>
                <a:spcPct val="90000"/>
              </a:lnSpc>
              <a:spcBef>
                <a:spcPts val="500"/>
              </a:spcBef>
              <a:spcAft>
                <a:spcPts val="0"/>
              </a:spcAft>
              <a:buClr>
                <a:srgbClr val="FFA400"/>
              </a:buClr>
              <a:defRPr sz="28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4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2000" b="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20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849217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006703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19"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atin typeface="+mn-lt"/>
                <a:ea typeface="+mn-ea"/>
                <a:cs typeface="+mn-cs"/>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913088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579439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43"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latin typeface="+mn-lt"/>
                <a:ea typeface="+mn-ea"/>
                <a:cs typeface="+mn-cs"/>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1414587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90848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26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09098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95115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29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33328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93249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1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51938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68111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94757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94114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3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60745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26945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3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6990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25432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38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79231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98107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68600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6572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3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02359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04616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4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66989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24012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2754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15238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35866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53476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3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78246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004975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55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68865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2961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03716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54392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5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16840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34043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26573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10537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8982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12379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5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27367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417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6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3500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57573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69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9896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66291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2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8263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34395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74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89606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711913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77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35931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58518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79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10096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76098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0873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43172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1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18358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05353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4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80541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58024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2867"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918097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19107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89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latin typeface="+mn-lt"/>
                <a:ea typeface="+mn-ea"/>
                <a:cs typeface="+mn-cs"/>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latin typeface="+mn-lt"/>
                <a:ea typeface="+mn-ea"/>
                <a:cs typeface="+mn-cs"/>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21480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5707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15"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6815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45979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9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11435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88289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63"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85137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912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98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5105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35350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0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47124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00640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003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87034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61186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54938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7448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0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10472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94316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08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37837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96188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10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43260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28286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1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3450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2536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1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41643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2417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1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6240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55275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0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66121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2492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26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92423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5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9048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1028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2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19519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503119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6270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24096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32620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29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8351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88560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2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38702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71276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34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87442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8565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7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29840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4909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3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94659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47162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1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81118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9635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4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85799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ext uri="{D42A27DB-BD31-4B8C-83A1-F6EECF244321}">
                <p14:modId xmlns:p14="http://schemas.microsoft.com/office/powerpoint/2010/main" val="2291411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467"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6592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00895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49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6948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8897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51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4861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3174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0995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3346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3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83761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552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56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59522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13734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587"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1754686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09891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latin typeface="+mn-lt"/>
                <a:ea typeface="+mn-ea"/>
                <a:cs typeface="+mn-cs"/>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latin typeface="+mn-lt"/>
                <a:ea typeface="+mn-ea"/>
                <a:cs typeface="+mn-cs"/>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Tree>
    <p:extLst>
      <p:ext uri="{BB962C8B-B14F-4D97-AF65-F5344CB8AC3E}">
        <p14:creationId xmlns:p14="http://schemas.microsoft.com/office/powerpoint/2010/main" val="532107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50109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63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5884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0687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65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18787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5048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6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79636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18902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7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80563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2278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7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1220467"/>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95820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4857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7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62891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40169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47417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27433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7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38584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90220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8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90767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0522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8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50808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42224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87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820621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71690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89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4494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18183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2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937744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04573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94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1070580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55698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97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60866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1496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995"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1686814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235280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2019"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3752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817611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97817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189643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043"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2469027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418370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4067"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atin typeface="+mn-lt"/>
                <a:ea typeface="+mn-ea"/>
                <a:cs typeface="+mn-cs"/>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atin typeface="+mn-lt"/>
                <a:ea typeface="+mn-ea"/>
                <a:cs typeface="+mn-cs"/>
              </a:defRPr>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975975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178372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5091"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atin typeface="+mn-lt"/>
                <a:ea typeface="+mn-ea"/>
                <a:cs typeface="+mn-cs"/>
              </a:defRPr>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mj-lt"/>
                <a:ea typeface="+mj-ea"/>
                <a:cs typeface="+mj-cs"/>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2196047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48588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6115"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latin typeface="+mn-lt"/>
                <a:ea typeface="+mn-ea"/>
                <a:cs typeface="+mn-cs"/>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2166019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3529112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139"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atin typeface="+mn-lt"/>
                <a:ea typeface="+mn-ea"/>
                <a:cs typeface="+mn-cs"/>
              </a:defRPr>
            </a:lvl1pPr>
            <a:lvl2pPr marL="685800" indent="-228600">
              <a:lnSpc>
                <a:spcPct val="90000"/>
              </a:lnSpc>
              <a:spcBef>
                <a:spcPts val="500"/>
              </a:spcBef>
              <a:spcAft>
                <a:spcPts val="0"/>
              </a:spcAft>
              <a:buClr>
                <a:srgbClr val="FFA400"/>
              </a:buClr>
              <a:defRPr sz="28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4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2000" b="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20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2258906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026513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63"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atin typeface="+mn-lt"/>
                <a:ea typeface="+mn-ea"/>
                <a:cs typeface="+mn-cs"/>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3701332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238921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187"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latin typeface="+mn-lt"/>
                <a:ea typeface="+mn-ea"/>
                <a:cs typeface="+mn-cs"/>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335692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88925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21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0582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26353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123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2320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13427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25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53928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892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7296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4495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3283"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244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28741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43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88178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40567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53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03240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56853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63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72304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38996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73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63733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97680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90971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66240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4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43523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40966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45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84650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38521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47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1830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0527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249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25849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56562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96815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0984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352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87723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1026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45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68239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25625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55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09611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77132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65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8805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1070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761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05339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39847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43"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999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6353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66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85245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241063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69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61002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721701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715"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89624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6180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273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7117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51969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0652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8286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37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03714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49058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478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13401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637265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581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1061929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62332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683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latin typeface="+mn-lt"/>
                <a:ea typeface="+mn-ea"/>
                <a:cs typeface="+mn-cs"/>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latin typeface="+mn-lt"/>
                <a:ea typeface="+mn-ea"/>
                <a:cs typeface="+mn-cs"/>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35375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66862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859"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67708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45877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33146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9991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907"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44245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6316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9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61708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272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9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99772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6784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9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21729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4514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59983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31534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0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60285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6902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02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2099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29117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605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08184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24891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70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88862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2239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80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99406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5337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2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09855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3097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14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18390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0136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1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604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01655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1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5905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1751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321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92010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67799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66902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6029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424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32234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85671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26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57811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52203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629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5438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89444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731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87129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25960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83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68185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76764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16029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8059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38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09422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ext uri="{D42A27DB-BD31-4B8C-83A1-F6EECF244321}">
                <p14:modId xmlns:p14="http://schemas.microsoft.com/office/powerpoint/2010/main" val="1483762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411"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232755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61976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243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16097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41275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345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6450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6067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83605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50636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448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85608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86252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550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15735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023175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653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705671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3193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75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latin typeface="+mn-lt"/>
                <a:ea typeface="+mn-ea"/>
                <a:cs typeface="+mn-cs"/>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latin typeface="+mn-lt"/>
                <a:ea typeface="+mn-ea"/>
                <a:cs typeface="+mn-cs"/>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Tree>
    <p:extLst>
      <p:ext uri="{BB962C8B-B14F-4D97-AF65-F5344CB8AC3E}">
        <p14:creationId xmlns:p14="http://schemas.microsoft.com/office/powerpoint/2010/main" val="1303459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93911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857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37129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96717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56466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24803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2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34200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1078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6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62411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0912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6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1220467"/>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1679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1028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6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28414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668477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7"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435324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5360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7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91201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58173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7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70801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1335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7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9550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92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70270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5"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64243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7637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63586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54712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3"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4648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6865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26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55639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15921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03587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3061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52656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97210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95860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10974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943660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13381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22660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9134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13684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3451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52463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93268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55389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67459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69783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14192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05662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1253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37759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098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67305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1683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92748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65768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26182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280253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300710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60815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03109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28091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3969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2662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76162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2808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53248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58493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77324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ext uri="{D42A27DB-BD31-4B8C-83A1-F6EECF244321}">
                <p14:modId xmlns:p14="http://schemas.microsoft.com/office/powerpoint/2010/main" val="279538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7"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422658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4647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37306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22739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06460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89859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53451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7726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02083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666745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3969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7"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458489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76060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916571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528130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60069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86679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6244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97045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94065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92993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06885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1712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41036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16125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7551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681396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33356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74006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6588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384871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2684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7261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43619338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679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4083924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80018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577799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74687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469557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48828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588138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4084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1058072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563976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9"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1850240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59624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3"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0936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4128785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7"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327908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2471229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775280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1"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atin typeface="+mn-lt"/>
                <a:ea typeface="+mn-ea"/>
                <a:cs typeface="+mn-cs"/>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atin typeface="+mn-lt"/>
                <a:ea typeface="+mn-ea"/>
                <a:cs typeface="+mn-cs"/>
              </a:defRPr>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533946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096011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5"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atin typeface="+mn-lt"/>
                <a:ea typeface="+mn-ea"/>
                <a:cs typeface="+mn-cs"/>
              </a:defRPr>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mj-lt"/>
                <a:ea typeface="+mj-ea"/>
                <a:cs typeface="+mj-cs"/>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706457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87330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latin typeface="+mn-lt"/>
                <a:ea typeface="+mn-ea"/>
                <a:cs typeface="+mn-cs"/>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447836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408459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3"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atin typeface="+mn-lt"/>
                <a:ea typeface="+mn-ea"/>
                <a:cs typeface="+mn-cs"/>
              </a:defRPr>
            </a:lvl1pPr>
            <a:lvl2pPr marL="685800" indent="-228600">
              <a:lnSpc>
                <a:spcPct val="90000"/>
              </a:lnSpc>
              <a:spcBef>
                <a:spcPts val="500"/>
              </a:spcBef>
              <a:spcAft>
                <a:spcPts val="0"/>
              </a:spcAft>
              <a:buClr>
                <a:srgbClr val="FFA400"/>
              </a:buClr>
              <a:defRPr sz="28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4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2000" b="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20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970716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488054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7"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atin typeface="+mn-lt"/>
                <a:ea typeface="+mn-ea"/>
                <a:cs typeface="+mn-cs"/>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789691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40633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latin typeface="+mn-lt"/>
                <a:ea typeface="+mn-ea"/>
                <a:cs typeface="+mn-cs"/>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445394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69400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0270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644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76687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34277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91835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3652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7"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87597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tags" Target="../tags/tag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tags" Target="../tags/tag90.xml"/><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85" Type="http://schemas.openxmlformats.org/officeDocument/2006/relationships/oleObject" Target="../embeddings/oleObject82.bin"/><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vmlDrawing" Target="../drawings/vmlDrawing82.v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86" Type="http://schemas.openxmlformats.org/officeDocument/2006/relationships/image" Target="../media/image1.emf"/><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 Id="rId61" Type="http://schemas.openxmlformats.org/officeDocument/2006/relationships/slideLayout" Target="../slideLayouts/slideLayout142.xml"/><Relationship Id="rId8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8.xml"/><Relationship Id="rId21" Type="http://schemas.openxmlformats.org/officeDocument/2006/relationships/slideLayout" Target="../slideLayouts/slideLayout183.xml"/><Relationship Id="rId42" Type="http://schemas.openxmlformats.org/officeDocument/2006/relationships/slideLayout" Target="../slideLayouts/slideLayout204.xml"/><Relationship Id="rId47" Type="http://schemas.openxmlformats.org/officeDocument/2006/relationships/slideLayout" Target="../slideLayouts/slideLayout209.xml"/><Relationship Id="rId63" Type="http://schemas.openxmlformats.org/officeDocument/2006/relationships/slideLayout" Target="../slideLayouts/slideLayout225.xml"/><Relationship Id="rId68" Type="http://schemas.openxmlformats.org/officeDocument/2006/relationships/slideLayout" Target="../slideLayouts/slideLayout230.xml"/><Relationship Id="rId84" Type="http://schemas.openxmlformats.org/officeDocument/2006/relationships/oleObject" Target="../embeddings/oleObject163.bin"/><Relationship Id="rId16" Type="http://schemas.openxmlformats.org/officeDocument/2006/relationships/slideLayout" Target="../slideLayouts/slideLayout178.xml"/><Relationship Id="rId11" Type="http://schemas.openxmlformats.org/officeDocument/2006/relationships/slideLayout" Target="../slideLayouts/slideLayout173.xml"/><Relationship Id="rId32" Type="http://schemas.openxmlformats.org/officeDocument/2006/relationships/slideLayout" Target="../slideLayouts/slideLayout194.xml"/><Relationship Id="rId37" Type="http://schemas.openxmlformats.org/officeDocument/2006/relationships/slideLayout" Target="../slideLayouts/slideLayout199.xml"/><Relationship Id="rId53" Type="http://schemas.openxmlformats.org/officeDocument/2006/relationships/slideLayout" Target="../slideLayouts/slideLayout215.xml"/><Relationship Id="rId58" Type="http://schemas.openxmlformats.org/officeDocument/2006/relationships/slideLayout" Target="../slideLayouts/slideLayout220.xml"/><Relationship Id="rId74" Type="http://schemas.openxmlformats.org/officeDocument/2006/relationships/slideLayout" Target="../slideLayouts/slideLayout236.xml"/><Relationship Id="rId79" Type="http://schemas.openxmlformats.org/officeDocument/2006/relationships/slideLayout" Target="../slideLayouts/slideLayout241.xml"/><Relationship Id="rId5" Type="http://schemas.openxmlformats.org/officeDocument/2006/relationships/slideLayout" Target="../slideLayouts/slideLayout167.xml"/><Relationship Id="rId19" Type="http://schemas.openxmlformats.org/officeDocument/2006/relationships/slideLayout" Target="../slideLayouts/slideLayout181.xml"/><Relationship Id="rId14" Type="http://schemas.openxmlformats.org/officeDocument/2006/relationships/slideLayout" Target="../slideLayouts/slideLayout176.xml"/><Relationship Id="rId22" Type="http://schemas.openxmlformats.org/officeDocument/2006/relationships/slideLayout" Target="../slideLayouts/slideLayout184.xml"/><Relationship Id="rId27" Type="http://schemas.openxmlformats.org/officeDocument/2006/relationships/slideLayout" Target="../slideLayouts/slideLayout189.xml"/><Relationship Id="rId30" Type="http://schemas.openxmlformats.org/officeDocument/2006/relationships/slideLayout" Target="../slideLayouts/slideLayout192.xml"/><Relationship Id="rId35" Type="http://schemas.openxmlformats.org/officeDocument/2006/relationships/slideLayout" Target="../slideLayouts/slideLayout197.xml"/><Relationship Id="rId43" Type="http://schemas.openxmlformats.org/officeDocument/2006/relationships/slideLayout" Target="../slideLayouts/slideLayout205.xml"/><Relationship Id="rId48" Type="http://schemas.openxmlformats.org/officeDocument/2006/relationships/slideLayout" Target="../slideLayouts/slideLayout210.xml"/><Relationship Id="rId56" Type="http://schemas.openxmlformats.org/officeDocument/2006/relationships/slideLayout" Target="../slideLayouts/slideLayout218.xml"/><Relationship Id="rId64" Type="http://schemas.openxmlformats.org/officeDocument/2006/relationships/slideLayout" Target="../slideLayouts/slideLayout226.xml"/><Relationship Id="rId69" Type="http://schemas.openxmlformats.org/officeDocument/2006/relationships/slideLayout" Target="../slideLayouts/slideLayout231.xml"/><Relationship Id="rId77" Type="http://schemas.openxmlformats.org/officeDocument/2006/relationships/slideLayout" Target="../slideLayouts/slideLayout239.xml"/><Relationship Id="rId8" Type="http://schemas.openxmlformats.org/officeDocument/2006/relationships/slideLayout" Target="../slideLayouts/slideLayout170.xml"/><Relationship Id="rId51" Type="http://schemas.openxmlformats.org/officeDocument/2006/relationships/slideLayout" Target="../slideLayouts/slideLayout213.xml"/><Relationship Id="rId72" Type="http://schemas.openxmlformats.org/officeDocument/2006/relationships/slideLayout" Target="../slideLayouts/slideLayout234.xml"/><Relationship Id="rId80" Type="http://schemas.openxmlformats.org/officeDocument/2006/relationships/slideLayout" Target="../slideLayouts/slideLayout242.xml"/><Relationship Id="rId85" Type="http://schemas.openxmlformats.org/officeDocument/2006/relationships/image" Target="../media/image1.emf"/><Relationship Id="rId3" Type="http://schemas.openxmlformats.org/officeDocument/2006/relationships/slideLayout" Target="../slideLayouts/slideLayout165.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slideLayout" Target="../slideLayouts/slideLayout187.xml"/><Relationship Id="rId33" Type="http://schemas.openxmlformats.org/officeDocument/2006/relationships/slideLayout" Target="../slideLayouts/slideLayout195.xml"/><Relationship Id="rId38" Type="http://schemas.openxmlformats.org/officeDocument/2006/relationships/slideLayout" Target="../slideLayouts/slideLayout200.xml"/><Relationship Id="rId46" Type="http://schemas.openxmlformats.org/officeDocument/2006/relationships/slideLayout" Target="../slideLayouts/slideLayout208.xml"/><Relationship Id="rId59" Type="http://schemas.openxmlformats.org/officeDocument/2006/relationships/slideLayout" Target="../slideLayouts/slideLayout221.xml"/><Relationship Id="rId67" Type="http://schemas.openxmlformats.org/officeDocument/2006/relationships/slideLayout" Target="../slideLayouts/slideLayout229.xml"/><Relationship Id="rId20" Type="http://schemas.openxmlformats.org/officeDocument/2006/relationships/slideLayout" Target="../slideLayouts/slideLayout182.xml"/><Relationship Id="rId41" Type="http://schemas.openxmlformats.org/officeDocument/2006/relationships/slideLayout" Target="../slideLayouts/slideLayout203.xml"/><Relationship Id="rId54" Type="http://schemas.openxmlformats.org/officeDocument/2006/relationships/slideLayout" Target="../slideLayouts/slideLayout216.xml"/><Relationship Id="rId62" Type="http://schemas.openxmlformats.org/officeDocument/2006/relationships/slideLayout" Target="../slideLayouts/slideLayout224.xml"/><Relationship Id="rId70" Type="http://schemas.openxmlformats.org/officeDocument/2006/relationships/slideLayout" Target="../slideLayouts/slideLayout232.xml"/><Relationship Id="rId75" Type="http://schemas.openxmlformats.org/officeDocument/2006/relationships/slideLayout" Target="../slideLayouts/slideLayout237.xml"/><Relationship Id="rId83" Type="http://schemas.openxmlformats.org/officeDocument/2006/relationships/tags" Target="../tags/tag179.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5" Type="http://schemas.openxmlformats.org/officeDocument/2006/relationships/slideLayout" Target="../slideLayouts/slideLayout177.xml"/><Relationship Id="rId23" Type="http://schemas.openxmlformats.org/officeDocument/2006/relationships/slideLayout" Target="../slideLayouts/slideLayout185.xml"/><Relationship Id="rId28" Type="http://schemas.openxmlformats.org/officeDocument/2006/relationships/slideLayout" Target="../slideLayouts/slideLayout190.xml"/><Relationship Id="rId36" Type="http://schemas.openxmlformats.org/officeDocument/2006/relationships/slideLayout" Target="../slideLayouts/slideLayout198.xml"/><Relationship Id="rId49" Type="http://schemas.openxmlformats.org/officeDocument/2006/relationships/slideLayout" Target="../slideLayouts/slideLayout211.xml"/><Relationship Id="rId57" Type="http://schemas.openxmlformats.org/officeDocument/2006/relationships/slideLayout" Target="../slideLayouts/slideLayout219.xml"/><Relationship Id="rId10" Type="http://schemas.openxmlformats.org/officeDocument/2006/relationships/slideLayout" Target="../slideLayouts/slideLayout172.xml"/><Relationship Id="rId31" Type="http://schemas.openxmlformats.org/officeDocument/2006/relationships/slideLayout" Target="../slideLayouts/slideLayout193.xml"/><Relationship Id="rId44" Type="http://schemas.openxmlformats.org/officeDocument/2006/relationships/slideLayout" Target="../slideLayouts/slideLayout206.xml"/><Relationship Id="rId52" Type="http://schemas.openxmlformats.org/officeDocument/2006/relationships/slideLayout" Target="../slideLayouts/slideLayout214.xml"/><Relationship Id="rId60" Type="http://schemas.openxmlformats.org/officeDocument/2006/relationships/slideLayout" Target="../slideLayouts/slideLayout222.xml"/><Relationship Id="rId65" Type="http://schemas.openxmlformats.org/officeDocument/2006/relationships/slideLayout" Target="../slideLayouts/slideLayout227.xml"/><Relationship Id="rId73" Type="http://schemas.openxmlformats.org/officeDocument/2006/relationships/slideLayout" Target="../slideLayouts/slideLayout235.xml"/><Relationship Id="rId78" Type="http://schemas.openxmlformats.org/officeDocument/2006/relationships/slideLayout" Target="../slideLayouts/slideLayout240.xml"/><Relationship Id="rId81" Type="http://schemas.openxmlformats.org/officeDocument/2006/relationships/theme" Target="../theme/theme3.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9" Type="http://schemas.openxmlformats.org/officeDocument/2006/relationships/slideLayout" Target="../slideLayouts/slideLayout201.xml"/><Relationship Id="rId34" Type="http://schemas.openxmlformats.org/officeDocument/2006/relationships/slideLayout" Target="../slideLayouts/slideLayout196.xml"/><Relationship Id="rId50" Type="http://schemas.openxmlformats.org/officeDocument/2006/relationships/slideLayout" Target="../slideLayouts/slideLayout212.xml"/><Relationship Id="rId55" Type="http://schemas.openxmlformats.org/officeDocument/2006/relationships/slideLayout" Target="../slideLayouts/slideLayout217.xml"/><Relationship Id="rId76" Type="http://schemas.openxmlformats.org/officeDocument/2006/relationships/slideLayout" Target="../slideLayouts/slideLayout238.xml"/><Relationship Id="rId7" Type="http://schemas.openxmlformats.org/officeDocument/2006/relationships/slideLayout" Target="../slideLayouts/slideLayout169.xml"/><Relationship Id="rId71" Type="http://schemas.openxmlformats.org/officeDocument/2006/relationships/slideLayout" Target="../slideLayouts/slideLayout233.xml"/><Relationship Id="rId2" Type="http://schemas.openxmlformats.org/officeDocument/2006/relationships/slideLayout" Target="../slideLayouts/slideLayout164.xml"/><Relationship Id="rId29" Type="http://schemas.openxmlformats.org/officeDocument/2006/relationships/slideLayout" Target="../slideLayouts/slideLayout191.xml"/><Relationship Id="rId24" Type="http://schemas.openxmlformats.org/officeDocument/2006/relationships/slideLayout" Target="../slideLayouts/slideLayout186.xml"/><Relationship Id="rId40" Type="http://schemas.openxmlformats.org/officeDocument/2006/relationships/slideLayout" Target="../slideLayouts/slideLayout202.xml"/><Relationship Id="rId45" Type="http://schemas.openxmlformats.org/officeDocument/2006/relationships/slideLayout" Target="../slideLayouts/slideLayout207.xml"/><Relationship Id="rId66" Type="http://schemas.openxmlformats.org/officeDocument/2006/relationships/slideLayout" Target="../slideLayouts/slideLayout228.xml"/><Relationship Id="rId61" Type="http://schemas.openxmlformats.org/officeDocument/2006/relationships/slideLayout" Target="../slideLayouts/slideLayout223.xml"/><Relationship Id="rId82" Type="http://schemas.openxmlformats.org/officeDocument/2006/relationships/vmlDrawing" Target="../drawings/vmlDrawing163.v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68.xml"/><Relationship Id="rId21" Type="http://schemas.openxmlformats.org/officeDocument/2006/relationships/slideLayout" Target="../slideLayouts/slideLayout263.xml"/><Relationship Id="rId42" Type="http://schemas.openxmlformats.org/officeDocument/2006/relationships/slideLayout" Target="../slideLayouts/slideLayout284.xml"/><Relationship Id="rId47" Type="http://schemas.openxmlformats.org/officeDocument/2006/relationships/slideLayout" Target="../slideLayouts/slideLayout289.xml"/><Relationship Id="rId63" Type="http://schemas.openxmlformats.org/officeDocument/2006/relationships/slideLayout" Target="../slideLayouts/slideLayout305.xml"/><Relationship Id="rId68" Type="http://schemas.openxmlformats.org/officeDocument/2006/relationships/slideLayout" Target="../slideLayouts/slideLayout310.xml"/><Relationship Id="rId84" Type="http://schemas.openxmlformats.org/officeDocument/2006/relationships/oleObject" Target="../embeddings/oleObject163.bin"/><Relationship Id="rId16" Type="http://schemas.openxmlformats.org/officeDocument/2006/relationships/slideLayout" Target="../slideLayouts/slideLayout258.xml"/><Relationship Id="rId11" Type="http://schemas.openxmlformats.org/officeDocument/2006/relationships/slideLayout" Target="../slideLayouts/slideLayout253.xml"/><Relationship Id="rId32" Type="http://schemas.openxmlformats.org/officeDocument/2006/relationships/slideLayout" Target="../slideLayouts/slideLayout274.xml"/><Relationship Id="rId37" Type="http://schemas.openxmlformats.org/officeDocument/2006/relationships/slideLayout" Target="../slideLayouts/slideLayout279.xml"/><Relationship Id="rId53" Type="http://schemas.openxmlformats.org/officeDocument/2006/relationships/slideLayout" Target="../slideLayouts/slideLayout295.xml"/><Relationship Id="rId58" Type="http://schemas.openxmlformats.org/officeDocument/2006/relationships/slideLayout" Target="../slideLayouts/slideLayout300.xml"/><Relationship Id="rId74" Type="http://schemas.openxmlformats.org/officeDocument/2006/relationships/slideLayout" Target="../slideLayouts/slideLayout316.xml"/><Relationship Id="rId79" Type="http://schemas.openxmlformats.org/officeDocument/2006/relationships/slideLayout" Target="../slideLayouts/slideLayout321.xml"/><Relationship Id="rId5" Type="http://schemas.openxmlformats.org/officeDocument/2006/relationships/slideLayout" Target="../slideLayouts/slideLayout247.xml"/><Relationship Id="rId19" Type="http://schemas.openxmlformats.org/officeDocument/2006/relationships/slideLayout" Target="../slideLayouts/slideLayout261.xml"/><Relationship Id="rId14" Type="http://schemas.openxmlformats.org/officeDocument/2006/relationships/slideLayout" Target="../slideLayouts/slideLayout256.xml"/><Relationship Id="rId22" Type="http://schemas.openxmlformats.org/officeDocument/2006/relationships/slideLayout" Target="../slideLayouts/slideLayout264.xml"/><Relationship Id="rId27" Type="http://schemas.openxmlformats.org/officeDocument/2006/relationships/slideLayout" Target="../slideLayouts/slideLayout269.xml"/><Relationship Id="rId30" Type="http://schemas.openxmlformats.org/officeDocument/2006/relationships/slideLayout" Target="../slideLayouts/slideLayout272.xml"/><Relationship Id="rId35" Type="http://schemas.openxmlformats.org/officeDocument/2006/relationships/slideLayout" Target="../slideLayouts/slideLayout277.xml"/><Relationship Id="rId43" Type="http://schemas.openxmlformats.org/officeDocument/2006/relationships/slideLayout" Target="../slideLayouts/slideLayout285.xml"/><Relationship Id="rId48" Type="http://schemas.openxmlformats.org/officeDocument/2006/relationships/slideLayout" Target="../slideLayouts/slideLayout290.xml"/><Relationship Id="rId56" Type="http://schemas.openxmlformats.org/officeDocument/2006/relationships/slideLayout" Target="../slideLayouts/slideLayout298.xml"/><Relationship Id="rId64" Type="http://schemas.openxmlformats.org/officeDocument/2006/relationships/slideLayout" Target="../slideLayouts/slideLayout306.xml"/><Relationship Id="rId69" Type="http://schemas.openxmlformats.org/officeDocument/2006/relationships/slideLayout" Target="../slideLayouts/slideLayout311.xml"/><Relationship Id="rId77" Type="http://schemas.openxmlformats.org/officeDocument/2006/relationships/slideLayout" Target="../slideLayouts/slideLayout319.xml"/><Relationship Id="rId8" Type="http://schemas.openxmlformats.org/officeDocument/2006/relationships/slideLayout" Target="../slideLayouts/slideLayout250.xml"/><Relationship Id="rId51" Type="http://schemas.openxmlformats.org/officeDocument/2006/relationships/slideLayout" Target="../slideLayouts/slideLayout293.xml"/><Relationship Id="rId72" Type="http://schemas.openxmlformats.org/officeDocument/2006/relationships/slideLayout" Target="../slideLayouts/slideLayout314.xml"/><Relationship Id="rId80" Type="http://schemas.openxmlformats.org/officeDocument/2006/relationships/slideLayout" Target="../slideLayouts/slideLayout322.xml"/><Relationship Id="rId85" Type="http://schemas.openxmlformats.org/officeDocument/2006/relationships/image" Target="../media/image1.emf"/><Relationship Id="rId3" Type="http://schemas.openxmlformats.org/officeDocument/2006/relationships/slideLayout" Target="../slideLayouts/slideLayout245.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5" Type="http://schemas.openxmlformats.org/officeDocument/2006/relationships/slideLayout" Target="../slideLayouts/slideLayout267.xml"/><Relationship Id="rId33" Type="http://schemas.openxmlformats.org/officeDocument/2006/relationships/slideLayout" Target="../slideLayouts/slideLayout275.xml"/><Relationship Id="rId38" Type="http://schemas.openxmlformats.org/officeDocument/2006/relationships/slideLayout" Target="../slideLayouts/slideLayout280.xml"/><Relationship Id="rId46" Type="http://schemas.openxmlformats.org/officeDocument/2006/relationships/slideLayout" Target="../slideLayouts/slideLayout288.xml"/><Relationship Id="rId59" Type="http://schemas.openxmlformats.org/officeDocument/2006/relationships/slideLayout" Target="../slideLayouts/slideLayout301.xml"/><Relationship Id="rId67" Type="http://schemas.openxmlformats.org/officeDocument/2006/relationships/slideLayout" Target="../slideLayouts/slideLayout309.xml"/><Relationship Id="rId20" Type="http://schemas.openxmlformats.org/officeDocument/2006/relationships/slideLayout" Target="../slideLayouts/slideLayout262.xml"/><Relationship Id="rId41" Type="http://schemas.openxmlformats.org/officeDocument/2006/relationships/slideLayout" Target="../slideLayouts/slideLayout283.xml"/><Relationship Id="rId54" Type="http://schemas.openxmlformats.org/officeDocument/2006/relationships/slideLayout" Target="../slideLayouts/slideLayout296.xml"/><Relationship Id="rId62" Type="http://schemas.openxmlformats.org/officeDocument/2006/relationships/slideLayout" Target="../slideLayouts/slideLayout304.xml"/><Relationship Id="rId70" Type="http://schemas.openxmlformats.org/officeDocument/2006/relationships/slideLayout" Target="../slideLayouts/slideLayout312.xml"/><Relationship Id="rId75" Type="http://schemas.openxmlformats.org/officeDocument/2006/relationships/slideLayout" Target="../slideLayouts/slideLayout317.xml"/><Relationship Id="rId83" Type="http://schemas.openxmlformats.org/officeDocument/2006/relationships/tags" Target="../tags/tag268.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5" Type="http://schemas.openxmlformats.org/officeDocument/2006/relationships/slideLayout" Target="../slideLayouts/slideLayout257.xml"/><Relationship Id="rId23" Type="http://schemas.openxmlformats.org/officeDocument/2006/relationships/slideLayout" Target="../slideLayouts/slideLayout265.xml"/><Relationship Id="rId28" Type="http://schemas.openxmlformats.org/officeDocument/2006/relationships/slideLayout" Target="../slideLayouts/slideLayout270.xml"/><Relationship Id="rId36" Type="http://schemas.openxmlformats.org/officeDocument/2006/relationships/slideLayout" Target="../slideLayouts/slideLayout278.xml"/><Relationship Id="rId49" Type="http://schemas.openxmlformats.org/officeDocument/2006/relationships/slideLayout" Target="../slideLayouts/slideLayout291.xml"/><Relationship Id="rId57" Type="http://schemas.openxmlformats.org/officeDocument/2006/relationships/slideLayout" Target="../slideLayouts/slideLayout299.xml"/><Relationship Id="rId10" Type="http://schemas.openxmlformats.org/officeDocument/2006/relationships/slideLayout" Target="../slideLayouts/slideLayout252.xml"/><Relationship Id="rId31" Type="http://schemas.openxmlformats.org/officeDocument/2006/relationships/slideLayout" Target="../slideLayouts/slideLayout273.xml"/><Relationship Id="rId44" Type="http://schemas.openxmlformats.org/officeDocument/2006/relationships/slideLayout" Target="../slideLayouts/slideLayout286.xml"/><Relationship Id="rId52" Type="http://schemas.openxmlformats.org/officeDocument/2006/relationships/slideLayout" Target="../slideLayouts/slideLayout294.xml"/><Relationship Id="rId60" Type="http://schemas.openxmlformats.org/officeDocument/2006/relationships/slideLayout" Target="../slideLayouts/slideLayout302.xml"/><Relationship Id="rId65" Type="http://schemas.openxmlformats.org/officeDocument/2006/relationships/slideLayout" Target="../slideLayouts/slideLayout307.xml"/><Relationship Id="rId73" Type="http://schemas.openxmlformats.org/officeDocument/2006/relationships/slideLayout" Target="../slideLayouts/slideLayout315.xml"/><Relationship Id="rId78" Type="http://schemas.openxmlformats.org/officeDocument/2006/relationships/slideLayout" Target="../slideLayouts/slideLayout320.xml"/><Relationship Id="rId81" Type="http://schemas.openxmlformats.org/officeDocument/2006/relationships/theme" Target="../theme/theme4.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39" Type="http://schemas.openxmlformats.org/officeDocument/2006/relationships/slideLayout" Target="../slideLayouts/slideLayout281.xml"/><Relationship Id="rId34" Type="http://schemas.openxmlformats.org/officeDocument/2006/relationships/slideLayout" Target="../slideLayouts/slideLayout276.xml"/><Relationship Id="rId50" Type="http://schemas.openxmlformats.org/officeDocument/2006/relationships/slideLayout" Target="../slideLayouts/slideLayout292.xml"/><Relationship Id="rId55" Type="http://schemas.openxmlformats.org/officeDocument/2006/relationships/slideLayout" Target="../slideLayouts/slideLayout297.xml"/><Relationship Id="rId76" Type="http://schemas.openxmlformats.org/officeDocument/2006/relationships/slideLayout" Target="../slideLayouts/slideLayout318.xml"/><Relationship Id="rId7" Type="http://schemas.openxmlformats.org/officeDocument/2006/relationships/slideLayout" Target="../slideLayouts/slideLayout249.xml"/><Relationship Id="rId71" Type="http://schemas.openxmlformats.org/officeDocument/2006/relationships/slideLayout" Target="../slideLayouts/slideLayout313.xml"/><Relationship Id="rId2" Type="http://schemas.openxmlformats.org/officeDocument/2006/relationships/slideLayout" Target="../slideLayouts/slideLayout244.xml"/><Relationship Id="rId29" Type="http://schemas.openxmlformats.org/officeDocument/2006/relationships/slideLayout" Target="../slideLayouts/slideLayout271.xml"/><Relationship Id="rId24" Type="http://schemas.openxmlformats.org/officeDocument/2006/relationships/slideLayout" Target="../slideLayouts/slideLayout266.xml"/><Relationship Id="rId40" Type="http://schemas.openxmlformats.org/officeDocument/2006/relationships/slideLayout" Target="../slideLayouts/slideLayout282.xml"/><Relationship Id="rId45" Type="http://schemas.openxmlformats.org/officeDocument/2006/relationships/slideLayout" Target="../slideLayouts/slideLayout287.xml"/><Relationship Id="rId66" Type="http://schemas.openxmlformats.org/officeDocument/2006/relationships/slideLayout" Target="../slideLayouts/slideLayout308.xml"/><Relationship Id="rId61" Type="http://schemas.openxmlformats.org/officeDocument/2006/relationships/slideLayout" Target="../slideLayouts/slideLayout303.xml"/><Relationship Id="rId82" Type="http://schemas.openxmlformats.org/officeDocument/2006/relationships/vmlDrawing" Target="../drawings/vmlDrawing244.v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348.xml"/><Relationship Id="rId21" Type="http://schemas.openxmlformats.org/officeDocument/2006/relationships/slideLayout" Target="../slideLayouts/slideLayout343.xml"/><Relationship Id="rId42" Type="http://schemas.openxmlformats.org/officeDocument/2006/relationships/slideLayout" Target="../slideLayouts/slideLayout364.xml"/><Relationship Id="rId47" Type="http://schemas.openxmlformats.org/officeDocument/2006/relationships/slideLayout" Target="../slideLayouts/slideLayout369.xml"/><Relationship Id="rId63" Type="http://schemas.openxmlformats.org/officeDocument/2006/relationships/slideLayout" Target="../slideLayouts/slideLayout385.xml"/><Relationship Id="rId68" Type="http://schemas.openxmlformats.org/officeDocument/2006/relationships/slideLayout" Target="../slideLayouts/slideLayout390.xml"/><Relationship Id="rId84" Type="http://schemas.openxmlformats.org/officeDocument/2006/relationships/oleObject" Target="../embeddings/oleObject163.bin"/><Relationship Id="rId16" Type="http://schemas.openxmlformats.org/officeDocument/2006/relationships/slideLayout" Target="../slideLayouts/slideLayout338.xml"/><Relationship Id="rId11" Type="http://schemas.openxmlformats.org/officeDocument/2006/relationships/slideLayout" Target="../slideLayouts/slideLayout333.xml"/><Relationship Id="rId32" Type="http://schemas.openxmlformats.org/officeDocument/2006/relationships/slideLayout" Target="../slideLayouts/slideLayout354.xml"/><Relationship Id="rId37" Type="http://schemas.openxmlformats.org/officeDocument/2006/relationships/slideLayout" Target="../slideLayouts/slideLayout359.xml"/><Relationship Id="rId53" Type="http://schemas.openxmlformats.org/officeDocument/2006/relationships/slideLayout" Target="../slideLayouts/slideLayout375.xml"/><Relationship Id="rId58" Type="http://schemas.openxmlformats.org/officeDocument/2006/relationships/slideLayout" Target="../slideLayouts/slideLayout380.xml"/><Relationship Id="rId74" Type="http://schemas.openxmlformats.org/officeDocument/2006/relationships/slideLayout" Target="../slideLayouts/slideLayout396.xml"/><Relationship Id="rId79" Type="http://schemas.openxmlformats.org/officeDocument/2006/relationships/slideLayout" Target="../slideLayouts/slideLayout401.xml"/><Relationship Id="rId5" Type="http://schemas.openxmlformats.org/officeDocument/2006/relationships/slideLayout" Target="../slideLayouts/slideLayout327.xml"/><Relationship Id="rId19" Type="http://schemas.openxmlformats.org/officeDocument/2006/relationships/slideLayout" Target="../slideLayouts/slideLayout34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35" Type="http://schemas.openxmlformats.org/officeDocument/2006/relationships/slideLayout" Target="../slideLayouts/slideLayout357.xml"/><Relationship Id="rId43" Type="http://schemas.openxmlformats.org/officeDocument/2006/relationships/slideLayout" Target="../slideLayouts/slideLayout365.xml"/><Relationship Id="rId48" Type="http://schemas.openxmlformats.org/officeDocument/2006/relationships/slideLayout" Target="../slideLayouts/slideLayout370.xml"/><Relationship Id="rId56" Type="http://schemas.openxmlformats.org/officeDocument/2006/relationships/slideLayout" Target="../slideLayouts/slideLayout378.xml"/><Relationship Id="rId64" Type="http://schemas.openxmlformats.org/officeDocument/2006/relationships/slideLayout" Target="../slideLayouts/slideLayout386.xml"/><Relationship Id="rId69" Type="http://schemas.openxmlformats.org/officeDocument/2006/relationships/slideLayout" Target="../slideLayouts/slideLayout391.xml"/><Relationship Id="rId77" Type="http://schemas.openxmlformats.org/officeDocument/2006/relationships/slideLayout" Target="../slideLayouts/slideLayout399.xml"/><Relationship Id="rId8" Type="http://schemas.openxmlformats.org/officeDocument/2006/relationships/slideLayout" Target="../slideLayouts/slideLayout330.xml"/><Relationship Id="rId51" Type="http://schemas.openxmlformats.org/officeDocument/2006/relationships/slideLayout" Target="../slideLayouts/slideLayout373.xml"/><Relationship Id="rId72" Type="http://schemas.openxmlformats.org/officeDocument/2006/relationships/slideLayout" Target="../slideLayouts/slideLayout394.xml"/><Relationship Id="rId80" Type="http://schemas.openxmlformats.org/officeDocument/2006/relationships/slideLayout" Target="../slideLayouts/slideLayout402.xml"/><Relationship Id="rId85" Type="http://schemas.openxmlformats.org/officeDocument/2006/relationships/image" Target="../media/image1.emf"/><Relationship Id="rId3" Type="http://schemas.openxmlformats.org/officeDocument/2006/relationships/slideLayout" Target="../slideLayouts/slideLayout325.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slideLayout" Target="../slideLayouts/slideLayout355.xml"/><Relationship Id="rId38" Type="http://schemas.openxmlformats.org/officeDocument/2006/relationships/slideLayout" Target="../slideLayouts/slideLayout360.xml"/><Relationship Id="rId46" Type="http://schemas.openxmlformats.org/officeDocument/2006/relationships/slideLayout" Target="../slideLayouts/slideLayout368.xml"/><Relationship Id="rId59" Type="http://schemas.openxmlformats.org/officeDocument/2006/relationships/slideLayout" Target="../slideLayouts/slideLayout381.xml"/><Relationship Id="rId67" Type="http://schemas.openxmlformats.org/officeDocument/2006/relationships/slideLayout" Target="../slideLayouts/slideLayout389.xml"/><Relationship Id="rId20" Type="http://schemas.openxmlformats.org/officeDocument/2006/relationships/slideLayout" Target="../slideLayouts/slideLayout342.xml"/><Relationship Id="rId41" Type="http://schemas.openxmlformats.org/officeDocument/2006/relationships/slideLayout" Target="../slideLayouts/slideLayout363.xml"/><Relationship Id="rId54" Type="http://schemas.openxmlformats.org/officeDocument/2006/relationships/slideLayout" Target="../slideLayouts/slideLayout376.xml"/><Relationship Id="rId62" Type="http://schemas.openxmlformats.org/officeDocument/2006/relationships/slideLayout" Target="../slideLayouts/slideLayout384.xml"/><Relationship Id="rId70" Type="http://schemas.openxmlformats.org/officeDocument/2006/relationships/slideLayout" Target="../slideLayouts/slideLayout392.xml"/><Relationship Id="rId75" Type="http://schemas.openxmlformats.org/officeDocument/2006/relationships/slideLayout" Target="../slideLayouts/slideLayout397.xml"/><Relationship Id="rId83" Type="http://schemas.openxmlformats.org/officeDocument/2006/relationships/tags" Target="../tags/tag357.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36" Type="http://schemas.openxmlformats.org/officeDocument/2006/relationships/slideLayout" Target="../slideLayouts/slideLayout358.xml"/><Relationship Id="rId49" Type="http://schemas.openxmlformats.org/officeDocument/2006/relationships/slideLayout" Target="../slideLayouts/slideLayout371.xml"/><Relationship Id="rId57" Type="http://schemas.openxmlformats.org/officeDocument/2006/relationships/slideLayout" Target="../slideLayouts/slideLayout379.xml"/><Relationship Id="rId10" Type="http://schemas.openxmlformats.org/officeDocument/2006/relationships/slideLayout" Target="../slideLayouts/slideLayout332.xml"/><Relationship Id="rId31" Type="http://schemas.openxmlformats.org/officeDocument/2006/relationships/slideLayout" Target="../slideLayouts/slideLayout353.xml"/><Relationship Id="rId44" Type="http://schemas.openxmlformats.org/officeDocument/2006/relationships/slideLayout" Target="../slideLayouts/slideLayout366.xml"/><Relationship Id="rId52" Type="http://schemas.openxmlformats.org/officeDocument/2006/relationships/slideLayout" Target="../slideLayouts/slideLayout374.xml"/><Relationship Id="rId60" Type="http://schemas.openxmlformats.org/officeDocument/2006/relationships/slideLayout" Target="../slideLayouts/slideLayout382.xml"/><Relationship Id="rId65" Type="http://schemas.openxmlformats.org/officeDocument/2006/relationships/slideLayout" Target="../slideLayouts/slideLayout387.xml"/><Relationship Id="rId73" Type="http://schemas.openxmlformats.org/officeDocument/2006/relationships/slideLayout" Target="../slideLayouts/slideLayout395.xml"/><Relationship Id="rId78" Type="http://schemas.openxmlformats.org/officeDocument/2006/relationships/slideLayout" Target="../slideLayouts/slideLayout400.xml"/><Relationship Id="rId81" Type="http://schemas.openxmlformats.org/officeDocument/2006/relationships/theme" Target="../theme/theme5.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39" Type="http://schemas.openxmlformats.org/officeDocument/2006/relationships/slideLayout" Target="../slideLayouts/slideLayout361.xml"/><Relationship Id="rId34" Type="http://schemas.openxmlformats.org/officeDocument/2006/relationships/slideLayout" Target="../slideLayouts/slideLayout356.xml"/><Relationship Id="rId50" Type="http://schemas.openxmlformats.org/officeDocument/2006/relationships/slideLayout" Target="../slideLayouts/slideLayout372.xml"/><Relationship Id="rId55" Type="http://schemas.openxmlformats.org/officeDocument/2006/relationships/slideLayout" Target="../slideLayouts/slideLayout377.xml"/><Relationship Id="rId76" Type="http://schemas.openxmlformats.org/officeDocument/2006/relationships/slideLayout" Target="../slideLayouts/slideLayout398.xml"/><Relationship Id="rId7" Type="http://schemas.openxmlformats.org/officeDocument/2006/relationships/slideLayout" Target="../slideLayouts/slideLayout329.xml"/><Relationship Id="rId71" Type="http://schemas.openxmlformats.org/officeDocument/2006/relationships/slideLayout" Target="../slideLayouts/slideLayout393.xml"/><Relationship Id="rId2" Type="http://schemas.openxmlformats.org/officeDocument/2006/relationships/slideLayout" Target="../slideLayouts/slideLayout324.xml"/><Relationship Id="rId29" Type="http://schemas.openxmlformats.org/officeDocument/2006/relationships/slideLayout" Target="../slideLayouts/slideLayout351.xml"/><Relationship Id="rId24" Type="http://schemas.openxmlformats.org/officeDocument/2006/relationships/slideLayout" Target="../slideLayouts/slideLayout346.xml"/><Relationship Id="rId40" Type="http://schemas.openxmlformats.org/officeDocument/2006/relationships/slideLayout" Target="../slideLayouts/slideLayout362.xml"/><Relationship Id="rId45" Type="http://schemas.openxmlformats.org/officeDocument/2006/relationships/slideLayout" Target="../slideLayouts/slideLayout367.xml"/><Relationship Id="rId66" Type="http://schemas.openxmlformats.org/officeDocument/2006/relationships/slideLayout" Target="../slideLayouts/slideLayout388.xml"/><Relationship Id="rId61" Type="http://schemas.openxmlformats.org/officeDocument/2006/relationships/slideLayout" Target="../slideLayouts/slideLayout383.xml"/><Relationship Id="rId82" Type="http://schemas.openxmlformats.org/officeDocument/2006/relationships/vmlDrawing" Target="../drawings/vmlDrawing32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4"/>
            </p:custDataLst>
            <p:extLst>
              <p:ext uri="{D42A27DB-BD31-4B8C-83A1-F6EECF244321}">
                <p14:modId xmlns:p14="http://schemas.microsoft.com/office/powerpoint/2010/main" val="1519765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85" imgW="270" imgH="270" progId="TCLayout.ActiveDocument.1">
                  <p:embed/>
                </p:oleObj>
              </mc:Choice>
              <mc:Fallback>
                <p:oleObj name="think-cell Slide" r:id="rId85" imgW="270" imgH="270" progId="TCLayout.ActiveDocument.1">
                  <p:embed/>
                  <p:pic>
                    <p:nvPicPr>
                      <p:cNvPr id="2" name="Object 1" hidden="1"/>
                      <p:cNvPicPr/>
                      <p:nvPr/>
                    </p:nvPicPr>
                    <p:blipFill>
                      <a:blip r:embed="rId8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222224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4"/>
            </p:custDataLst>
            <p:extLst>
              <p:ext uri="{D42A27DB-BD31-4B8C-83A1-F6EECF244321}">
                <p14:modId xmlns:p14="http://schemas.microsoft.com/office/powerpoint/2010/main" val="1846352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95" name="think-cell Slide" r:id="rId85" imgW="270" imgH="270" progId="TCLayout.ActiveDocument.1">
                  <p:embed/>
                </p:oleObj>
              </mc:Choice>
              <mc:Fallback>
                <p:oleObj name="think-cell Slide" r:id="rId85" imgW="270" imgH="270" progId="TCLayout.ActiveDocument.1">
                  <p:embed/>
                  <p:pic>
                    <p:nvPicPr>
                      <p:cNvPr id="2" name="Object 1" hidden="1"/>
                      <p:cNvPicPr/>
                      <p:nvPr/>
                    </p:nvPicPr>
                    <p:blipFill>
                      <a:blip r:embed="rId8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0551243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4" r:id="rId32"/>
    <p:sldLayoutId id="2147483775" r:id="rId33"/>
    <p:sldLayoutId id="2147483776" r:id="rId34"/>
    <p:sldLayoutId id="2147483777" r:id="rId35"/>
    <p:sldLayoutId id="2147483778" r:id="rId36"/>
    <p:sldLayoutId id="2147483779" r:id="rId37"/>
    <p:sldLayoutId id="2147483780" r:id="rId38"/>
    <p:sldLayoutId id="2147483781" r:id="rId39"/>
    <p:sldLayoutId id="2147483782" r:id="rId40"/>
    <p:sldLayoutId id="2147483783" r:id="rId41"/>
    <p:sldLayoutId id="2147483784" r:id="rId42"/>
    <p:sldLayoutId id="2147483785" r:id="rId43"/>
    <p:sldLayoutId id="2147483786" r:id="rId44"/>
    <p:sldLayoutId id="2147483787" r:id="rId45"/>
    <p:sldLayoutId id="2147483788" r:id="rId46"/>
    <p:sldLayoutId id="2147483789" r:id="rId47"/>
    <p:sldLayoutId id="2147483790" r:id="rId48"/>
    <p:sldLayoutId id="2147483791" r:id="rId49"/>
    <p:sldLayoutId id="2147483792" r:id="rId50"/>
    <p:sldLayoutId id="2147483793" r:id="rId51"/>
    <p:sldLayoutId id="2147483794" r:id="rId52"/>
    <p:sldLayoutId id="2147483795" r:id="rId53"/>
    <p:sldLayoutId id="2147483796" r:id="rId54"/>
    <p:sldLayoutId id="2147483797" r:id="rId55"/>
    <p:sldLayoutId id="2147483798" r:id="rId56"/>
    <p:sldLayoutId id="2147483799" r:id="rId57"/>
    <p:sldLayoutId id="2147483800" r:id="rId58"/>
    <p:sldLayoutId id="2147483801" r:id="rId59"/>
    <p:sldLayoutId id="2147483802" r:id="rId60"/>
    <p:sldLayoutId id="2147483803" r:id="rId61"/>
    <p:sldLayoutId id="2147483804" r:id="rId62"/>
    <p:sldLayoutId id="2147483805" r:id="rId63"/>
    <p:sldLayoutId id="2147483806" r:id="rId64"/>
    <p:sldLayoutId id="2147483807" r:id="rId65"/>
    <p:sldLayoutId id="2147483808" r:id="rId66"/>
    <p:sldLayoutId id="2147483809" r:id="rId67"/>
    <p:sldLayoutId id="2147483810" r:id="rId68"/>
    <p:sldLayoutId id="2147483811" r:id="rId69"/>
    <p:sldLayoutId id="2147483812" r:id="rId70"/>
    <p:sldLayoutId id="2147483813" r:id="rId71"/>
    <p:sldLayoutId id="2147483814" r:id="rId72"/>
    <p:sldLayoutId id="2147483815" r:id="rId73"/>
    <p:sldLayoutId id="2147483816" r:id="rId74"/>
    <p:sldLayoutId id="2147483817" r:id="rId75"/>
    <p:sldLayoutId id="2147483818" r:id="rId76"/>
    <p:sldLayoutId id="2147483819" r:id="rId77"/>
    <p:sldLayoutId id="2147483820" r:id="rId78"/>
    <p:sldLayoutId id="2147483821" r:id="rId79"/>
    <p:sldLayoutId id="2147483822" r:id="rId80"/>
    <p:sldLayoutId id="2147484066"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extLst>
              <p:ext uri="{D42A27DB-BD31-4B8C-83A1-F6EECF244321}">
                <p14:modId xmlns:p14="http://schemas.microsoft.com/office/powerpoint/2010/main" val="38452045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63"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57835009"/>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 id="2147483852" r:id="rId29"/>
    <p:sldLayoutId id="2147483853" r:id="rId30"/>
    <p:sldLayoutId id="2147483854" r:id="rId31"/>
    <p:sldLayoutId id="2147483855" r:id="rId32"/>
    <p:sldLayoutId id="2147483856" r:id="rId33"/>
    <p:sldLayoutId id="2147483857" r:id="rId34"/>
    <p:sldLayoutId id="2147483858" r:id="rId35"/>
    <p:sldLayoutId id="2147483859" r:id="rId36"/>
    <p:sldLayoutId id="2147483860" r:id="rId37"/>
    <p:sldLayoutId id="2147483861" r:id="rId38"/>
    <p:sldLayoutId id="2147483862" r:id="rId39"/>
    <p:sldLayoutId id="2147483863" r:id="rId40"/>
    <p:sldLayoutId id="2147483864" r:id="rId41"/>
    <p:sldLayoutId id="2147483865" r:id="rId42"/>
    <p:sldLayoutId id="2147483866" r:id="rId43"/>
    <p:sldLayoutId id="2147483867" r:id="rId44"/>
    <p:sldLayoutId id="2147483868" r:id="rId45"/>
    <p:sldLayoutId id="2147483869" r:id="rId46"/>
    <p:sldLayoutId id="2147483870" r:id="rId47"/>
    <p:sldLayoutId id="2147483871" r:id="rId48"/>
    <p:sldLayoutId id="2147483872" r:id="rId49"/>
    <p:sldLayoutId id="2147483873" r:id="rId50"/>
    <p:sldLayoutId id="2147483874" r:id="rId51"/>
    <p:sldLayoutId id="2147483875" r:id="rId52"/>
    <p:sldLayoutId id="2147483876" r:id="rId53"/>
    <p:sldLayoutId id="2147483877" r:id="rId54"/>
    <p:sldLayoutId id="2147483878" r:id="rId55"/>
    <p:sldLayoutId id="2147483879" r:id="rId56"/>
    <p:sldLayoutId id="2147483880" r:id="rId57"/>
    <p:sldLayoutId id="2147483881" r:id="rId58"/>
    <p:sldLayoutId id="2147483882" r:id="rId59"/>
    <p:sldLayoutId id="2147483883" r:id="rId60"/>
    <p:sldLayoutId id="2147483884" r:id="rId61"/>
    <p:sldLayoutId id="2147483885" r:id="rId62"/>
    <p:sldLayoutId id="2147483886" r:id="rId63"/>
    <p:sldLayoutId id="2147483887" r:id="rId64"/>
    <p:sldLayoutId id="2147483888" r:id="rId65"/>
    <p:sldLayoutId id="2147483889" r:id="rId66"/>
    <p:sldLayoutId id="2147483890" r:id="rId67"/>
    <p:sldLayoutId id="2147483891" r:id="rId68"/>
    <p:sldLayoutId id="2147483892" r:id="rId69"/>
    <p:sldLayoutId id="2147483893" r:id="rId70"/>
    <p:sldLayoutId id="2147483894" r:id="rId71"/>
    <p:sldLayoutId id="2147483895" r:id="rId72"/>
    <p:sldLayoutId id="2147483896" r:id="rId73"/>
    <p:sldLayoutId id="2147483897" r:id="rId74"/>
    <p:sldLayoutId id="2147483898" r:id="rId75"/>
    <p:sldLayoutId id="2147483899" r:id="rId76"/>
    <p:sldLayoutId id="2147483900" r:id="rId77"/>
    <p:sldLayoutId id="2147483901" r:id="rId78"/>
    <p:sldLayoutId id="2147483902" r:id="rId79"/>
    <p:sldLayoutId id="2147483903" r:id="rId8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extLst>
              <p:ext uri="{D42A27DB-BD31-4B8C-83A1-F6EECF244321}">
                <p14:modId xmlns:p14="http://schemas.microsoft.com/office/powerpoint/2010/main" val="4268083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907"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63091425"/>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 id="2147483930" r:id="rId26"/>
    <p:sldLayoutId id="2147483931" r:id="rId27"/>
    <p:sldLayoutId id="2147483932" r:id="rId28"/>
    <p:sldLayoutId id="2147483933" r:id="rId29"/>
    <p:sldLayoutId id="2147483934" r:id="rId30"/>
    <p:sldLayoutId id="2147483935" r:id="rId31"/>
    <p:sldLayoutId id="2147483936" r:id="rId32"/>
    <p:sldLayoutId id="2147483937" r:id="rId33"/>
    <p:sldLayoutId id="2147483938" r:id="rId34"/>
    <p:sldLayoutId id="2147483939" r:id="rId35"/>
    <p:sldLayoutId id="2147483940" r:id="rId36"/>
    <p:sldLayoutId id="2147483941" r:id="rId37"/>
    <p:sldLayoutId id="2147483942" r:id="rId38"/>
    <p:sldLayoutId id="2147483943" r:id="rId39"/>
    <p:sldLayoutId id="2147483944" r:id="rId40"/>
    <p:sldLayoutId id="2147483945" r:id="rId41"/>
    <p:sldLayoutId id="2147483946" r:id="rId42"/>
    <p:sldLayoutId id="2147483947" r:id="rId43"/>
    <p:sldLayoutId id="2147483948" r:id="rId44"/>
    <p:sldLayoutId id="2147483949" r:id="rId45"/>
    <p:sldLayoutId id="2147483950" r:id="rId46"/>
    <p:sldLayoutId id="2147483951" r:id="rId47"/>
    <p:sldLayoutId id="2147483952" r:id="rId48"/>
    <p:sldLayoutId id="2147483953" r:id="rId49"/>
    <p:sldLayoutId id="2147483954" r:id="rId50"/>
    <p:sldLayoutId id="2147483955" r:id="rId51"/>
    <p:sldLayoutId id="2147483956" r:id="rId52"/>
    <p:sldLayoutId id="2147483957" r:id="rId53"/>
    <p:sldLayoutId id="2147483958" r:id="rId54"/>
    <p:sldLayoutId id="2147483959" r:id="rId55"/>
    <p:sldLayoutId id="2147483960" r:id="rId56"/>
    <p:sldLayoutId id="2147483961" r:id="rId57"/>
    <p:sldLayoutId id="2147483962" r:id="rId58"/>
    <p:sldLayoutId id="2147483963" r:id="rId59"/>
    <p:sldLayoutId id="2147483964" r:id="rId60"/>
    <p:sldLayoutId id="2147483965" r:id="rId61"/>
    <p:sldLayoutId id="2147483966" r:id="rId62"/>
    <p:sldLayoutId id="2147483967" r:id="rId63"/>
    <p:sldLayoutId id="2147483968" r:id="rId64"/>
    <p:sldLayoutId id="2147483969" r:id="rId65"/>
    <p:sldLayoutId id="2147483970" r:id="rId66"/>
    <p:sldLayoutId id="2147483971" r:id="rId67"/>
    <p:sldLayoutId id="2147483972" r:id="rId68"/>
    <p:sldLayoutId id="2147483973" r:id="rId69"/>
    <p:sldLayoutId id="2147483974" r:id="rId70"/>
    <p:sldLayoutId id="2147483975" r:id="rId71"/>
    <p:sldLayoutId id="2147483976" r:id="rId72"/>
    <p:sldLayoutId id="2147483977" r:id="rId73"/>
    <p:sldLayoutId id="2147483978" r:id="rId74"/>
    <p:sldLayoutId id="2147483979" r:id="rId75"/>
    <p:sldLayoutId id="2147483980" r:id="rId76"/>
    <p:sldLayoutId id="2147483981" r:id="rId77"/>
    <p:sldLayoutId id="2147483982" r:id="rId78"/>
    <p:sldLayoutId id="2147483983" r:id="rId79"/>
    <p:sldLayoutId id="2147483984" r:id="rId8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extLst>
              <p:ext uri="{D42A27DB-BD31-4B8C-83A1-F6EECF244321}">
                <p14:modId xmlns:p14="http://schemas.microsoft.com/office/powerpoint/2010/main" val="708553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4851"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01467629"/>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 id="2147483999" r:id="rId14"/>
    <p:sldLayoutId id="2147484000" r:id="rId15"/>
    <p:sldLayoutId id="2147484001" r:id="rId16"/>
    <p:sldLayoutId id="2147484002" r:id="rId17"/>
    <p:sldLayoutId id="2147484003" r:id="rId18"/>
    <p:sldLayoutId id="2147484004" r:id="rId19"/>
    <p:sldLayoutId id="2147484005" r:id="rId20"/>
    <p:sldLayoutId id="2147484006" r:id="rId21"/>
    <p:sldLayoutId id="2147484007" r:id="rId22"/>
    <p:sldLayoutId id="2147484008" r:id="rId23"/>
    <p:sldLayoutId id="2147484009" r:id="rId24"/>
    <p:sldLayoutId id="2147484010" r:id="rId25"/>
    <p:sldLayoutId id="2147484011" r:id="rId26"/>
    <p:sldLayoutId id="2147484012" r:id="rId27"/>
    <p:sldLayoutId id="2147484013" r:id="rId28"/>
    <p:sldLayoutId id="2147484014" r:id="rId29"/>
    <p:sldLayoutId id="2147484015" r:id="rId30"/>
    <p:sldLayoutId id="2147484016" r:id="rId31"/>
    <p:sldLayoutId id="2147484017" r:id="rId32"/>
    <p:sldLayoutId id="2147484018" r:id="rId33"/>
    <p:sldLayoutId id="2147484019" r:id="rId34"/>
    <p:sldLayoutId id="2147484020" r:id="rId35"/>
    <p:sldLayoutId id="2147484021" r:id="rId36"/>
    <p:sldLayoutId id="2147484022" r:id="rId37"/>
    <p:sldLayoutId id="2147484023" r:id="rId38"/>
    <p:sldLayoutId id="2147484024" r:id="rId39"/>
    <p:sldLayoutId id="2147484025" r:id="rId40"/>
    <p:sldLayoutId id="2147484026" r:id="rId41"/>
    <p:sldLayoutId id="2147484027" r:id="rId42"/>
    <p:sldLayoutId id="2147484028" r:id="rId43"/>
    <p:sldLayoutId id="2147484029" r:id="rId44"/>
    <p:sldLayoutId id="2147484030" r:id="rId45"/>
    <p:sldLayoutId id="2147484031" r:id="rId46"/>
    <p:sldLayoutId id="2147484032" r:id="rId47"/>
    <p:sldLayoutId id="2147484033" r:id="rId48"/>
    <p:sldLayoutId id="2147484034" r:id="rId49"/>
    <p:sldLayoutId id="2147484035" r:id="rId50"/>
    <p:sldLayoutId id="2147484036" r:id="rId51"/>
    <p:sldLayoutId id="2147484037" r:id="rId52"/>
    <p:sldLayoutId id="2147484038" r:id="rId53"/>
    <p:sldLayoutId id="2147484039" r:id="rId54"/>
    <p:sldLayoutId id="2147484040" r:id="rId55"/>
    <p:sldLayoutId id="2147484041" r:id="rId56"/>
    <p:sldLayoutId id="2147484042" r:id="rId57"/>
    <p:sldLayoutId id="2147484043" r:id="rId58"/>
    <p:sldLayoutId id="2147484044" r:id="rId59"/>
    <p:sldLayoutId id="2147484045" r:id="rId60"/>
    <p:sldLayoutId id="2147484046" r:id="rId61"/>
    <p:sldLayoutId id="2147484047" r:id="rId62"/>
    <p:sldLayoutId id="2147484048" r:id="rId63"/>
    <p:sldLayoutId id="2147484049" r:id="rId64"/>
    <p:sldLayoutId id="2147484050" r:id="rId65"/>
    <p:sldLayoutId id="2147484051" r:id="rId66"/>
    <p:sldLayoutId id="2147484052" r:id="rId67"/>
    <p:sldLayoutId id="2147484053" r:id="rId68"/>
    <p:sldLayoutId id="2147484054" r:id="rId69"/>
    <p:sldLayoutId id="2147484055" r:id="rId70"/>
    <p:sldLayoutId id="2147484056" r:id="rId71"/>
    <p:sldLayoutId id="2147484057" r:id="rId72"/>
    <p:sldLayoutId id="2147484058" r:id="rId73"/>
    <p:sldLayoutId id="2147484059" r:id="rId74"/>
    <p:sldLayoutId id="2147484060" r:id="rId75"/>
    <p:sldLayoutId id="2147484061" r:id="rId76"/>
    <p:sldLayoutId id="2147484062" r:id="rId77"/>
    <p:sldLayoutId id="2147484063" r:id="rId78"/>
    <p:sldLayoutId id="2147484064" r:id="rId79"/>
    <p:sldLayoutId id="2147484065" r:id="rId8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47.xml"/><Relationship Id="rId7" Type="http://schemas.openxmlformats.org/officeDocument/2006/relationships/image" Target="../media/image8.emf"/><Relationship Id="rId2" Type="http://schemas.openxmlformats.org/officeDocument/2006/relationships/tags" Target="../tags/tag446.xml"/><Relationship Id="rId1" Type="http://schemas.openxmlformats.org/officeDocument/2006/relationships/vmlDrawing" Target="../drawings/vmlDrawing406.vml"/><Relationship Id="rId6" Type="http://schemas.openxmlformats.org/officeDocument/2006/relationships/oleObject" Target="../embeddings/oleObject24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479.xml"/><Relationship Id="rId13" Type="http://schemas.openxmlformats.org/officeDocument/2006/relationships/tags" Target="../tags/tag484.xml"/><Relationship Id="rId18" Type="http://schemas.openxmlformats.org/officeDocument/2006/relationships/notesSlide" Target="../notesSlides/notesSlide9.xml"/><Relationship Id="rId3" Type="http://schemas.openxmlformats.org/officeDocument/2006/relationships/tags" Target="../tags/tag474.xml"/><Relationship Id="rId21" Type="http://schemas.openxmlformats.org/officeDocument/2006/relationships/chart" Target="../charts/chart2.xml"/><Relationship Id="rId7" Type="http://schemas.openxmlformats.org/officeDocument/2006/relationships/tags" Target="../tags/tag478.xml"/><Relationship Id="rId12" Type="http://schemas.openxmlformats.org/officeDocument/2006/relationships/tags" Target="../tags/tag483.xml"/><Relationship Id="rId17" Type="http://schemas.openxmlformats.org/officeDocument/2006/relationships/slideLayout" Target="../slideLayouts/slideLayout124.xml"/><Relationship Id="rId2" Type="http://schemas.openxmlformats.org/officeDocument/2006/relationships/tags" Target="../tags/tag473.xml"/><Relationship Id="rId16" Type="http://schemas.openxmlformats.org/officeDocument/2006/relationships/tags" Target="../tags/tag487.xml"/><Relationship Id="rId20" Type="http://schemas.openxmlformats.org/officeDocument/2006/relationships/image" Target="../media/image8.emf"/><Relationship Id="rId1" Type="http://schemas.openxmlformats.org/officeDocument/2006/relationships/vmlDrawing" Target="../drawings/vmlDrawing415.vml"/><Relationship Id="rId6" Type="http://schemas.openxmlformats.org/officeDocument/2006/relationships/tags" Target="../tags/tag477.xml"/><Relationship Id="rId11" Type="http://schemas.openxmlformats.org/officeDocument/2006/relationships/tags" Target="../tags/tag482.xml"/><Relationship Id="rId5" Type="http://schemas.openxmlformats.org/officeDocument/2006/relationships/tags" Target="../tags/tag476.xml"/><Relationship Id="rId15" Type="http://schemas.openxmlformats.org/officeDocument/2006/relationships/tags" Target="../tags/tag486.xml"/><Relationship Id="rId10" Type="http://schemas.openxmlformats.org/officeDocument/2006/relationships/tags" Target="../tags/tag481.xml"/><Relationship Id="rId19" Type="http://schemas.openxmlformats.org/officeDocument/2006/relationships/oleObject" Target="../embeddings/oleObject253.bin"/><Relationship Id="rId4" Type="http://schemas.openxmlformats.org/officeDocument/2006/relationships/tags" Target="../tags/tag475.xml"/><Relationship Id="rId9" Type="http://schemas.openxmlformats.org/officeDocument/2006/relationships/tags" Target="../tags/tag480.xml"/><Relationship Id="rId14" Type="http://schemas.openxmlformats.org/officeDocument/2006/relationships/tags" Target="../tags/tag485.xml"/><Relationship Id="rId22" Type="http://schemas.openxmlformats.org/officeDocument/2006/relationships/chart" Target="../charts/chart3.xml"/></Relationships>
</file>

<file path=ppt/slides/_rels/slide11.xml.rels><?xml version="1.0" encoding="UTF-8" standalone="yes"?>
<Relationships xmlns="http://schemas.openxmlformats.org/package/2006/relationships"><Relationship Id="rId3" Type="http://schemas.openxmlformats.org/officeDocument/2006/relationships/tags" Target="../tags/tag489.xml"/><Relationship Id="rId2" Type="http://schemas.openxmlformats.org/officeDocument/2006/relationships/tags" Target="../tags/tag488.xml"/><Relationship Id="rId1" Type="http://schemas.openxmlformats.org/officeDocument/2006/relationships/vmlDrawing" Target="../drawings/vmlDrawing416.vml"/><Relationship Id="rId6" Type="http://schemas.openxmlformats.org/officeDocument/2006/relationships/image" Target="../media/image20.emf"/><Relationship Id="rId5" Type="http://schemas.openxmlformats.org/officeDocument/2006/relationships/oleObject" Target="../embeddings/oleObject254.bin"/><Relationship Id="rId4" Type="http://schemas.openxmlformats.org/officeDocument/2006/relationships/slideLayout" Target="../slideLayouts/slideLayout96.xml"/></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91.xml"/><Relationship Id="rId7" Type="http://schemas.openxmlformats.org/officeDocument/2006/relationships/oleObject" Target="../embeddings/oleObject255.bin"/><Relationship Id="rId2" Type="http://schemas.openxmlformats.org/officeDocument/2006/relationships/tags" Target="../tags/tag490.xml"/><Relationship Id="rId1" Type="http://schemas.openxmlformats.org/officeDocument/2006/relationships/vmlDrawing" Target="../drawings/vmlDrawing417.vml"/><Relationship Id="rId6" Type="http://schemas.openxmlformats.org/officeDocument/2006/relationships/notesSlide" Target="../notesSlides/notesSlide10.xml"/><Relationship Id="rId5" Type="http://schemas.openxmlformats.org/officeDocument/2006/relationships/slideLayout" Target="../slideLayouts/slideLayout341.xml"/><Relationship Id="rId4" Type="http://schemas.openxmlformats.org/officeDocument/2006/relationships/tags" Target="../tags/tag492.xml"/></Relationships>
</file>

<file path=ppt/slides/_rels/slide13.xml.rels><?xml version="1.0" encoding="UTF-8" standalone="yes"?>
<Relationships xmlns="http://schemas.openxmlformats.org/package/2006/relationships"><Relationship Id="rId3" Type="http://schemas.openxmlformats.org/officeDocument/2006/relationships/tags" Target="../tags/tag494.xml"/><Relationship Id="rId7" Type="http://schemas.openxmlformats.org/officeDocument/2006/relationships/image" Target="../media/image8.emf"/><Relationship Id="rId2" Type="http://schemas.openxmlformats.org/officeDocument/2006/relationships/tags" Target="../tags/tag493.xml"/><Relationship Id="rId1" Type="http://schemas.openxmlformats.org/officeDocument/2006/relationships/vmlDrawing" Target="../drawings/vmlDrawing418.vml"/><Relationship Id="rId6" Type="http://schemas.openxmlformats.org/officeDocument/2006/relationships/oleObject" Target="../embeddings/oleObject256.bin"/><Relationship Id="rId5" Type="http://schemas.openxmlformats.org/officeDocument/2006/relationships/notesSlide" Target="../notesSlides/notesSlide11.xml"/><Relationship Id="rId4" Type="http://schemas.openxmlformats.org/officeDocument/2006/relationships/slideLayout" Target="../slideLayouts/slideLayout365.xml"/></Relationships>
</file>

<file path=ppt/slides/_rels/slide14.xml.rels><?xml version="1.0" encoding="UTF-8" standalone="yes"?>
<Relationships xmlns="http://schemas.openxmlformats.org/package/2006/relationships"><Relationship Id="rId3" Type="http://schemas.openxmlformats.org/officeDocument/2006/relationships/tags" Target="../tags/tag496.xml"/><Relationship Id="rId2" Type="http://schemas.openxmlformats.org/officeDocument/2006/relationships/tags" Target="../tags/tag495.xml"/><Relationship Id="rId1" Type="http://schemas.openxmlformats.org/officeDocument/2006/relationships/vmlDrawing" Target="../drawings/vmlDrawing419.vml"/><Relationship Id="rId6" Type="http://schemas.openxmlformats.org/officeDocument/2006/relationships/image" Target="../media/image20.emf"/><Relationship Id="rId5" Type="http://schemas.openxmlformats.org/officeDocument/2006/relationships/oleObject" Target="../embeddings/oleObject257.bin"/><Relationship Id="rId4" Type="http://schemas.openxmlformats.org/officeDocument/2006/relationships/slideLayout" Target="../slideLayouts/slideLayout96.xml"/></Relationships>
</file>

<file path=ppt/slides/_rels/slide15.xml.rels><?xml version="1.0" encoding="UTF-8" standalone="yes"?>
<Relationships xmlns="http://schemas.openxmlformats.org/package/2006/relationships"><Relationship Id="rId8" Type="http://schemas.openxmlformats.org/officeDocument/2006/relationships/tags" Target="../tags/tag503.xml"/><Relationship Id="rId13" Type="http://schemas.openxmlformats.org/officeDocument/2006/relationships/chart" Target="../charts/chart4.xml"/><Relationship Id="rId3" Type="http://schemas.openxmlformats.org/officeDocument/2006/relationships/tags" Target="../tags/tag498.xml"/><Relationship Id="rId7" Type="http://schemas.openxmlformats.org/officeDocument/2006/relationships/tags" Target="../tags/tag502.xml"/><Relationship Id="rId12" Type="http://schemas.openxmlformats.org/officeDocument/2006/relationships/image" Target="../media/image8.emf"/><Relationship Id="rId2" Type="http://schemas.openxmlformats.org/officeDocument/2006/relationships/tags" Target="../tags/tag497.xml"/><Relationship Id="rId1" Type="http://schemas.openxmlformats.org/officeDocument/2006/relationships/vmlDrawing" Target="../drawings/vmlDrawing420.vml"/><Relationship Id="rId6" Type="http://schemas.openxmlformats.org/officeDocument/2006/relationships/tags" Target="../tags/tag501.xml"/><Relationship Id="rId11" Type="http://schemas.openxmlformats.org/officeDocument/2006/relationships/oleObject" Target="../embeddings/oleObject258.bin"/><Relationship Id="rId5" Type="http://schemas.openxmlformats.org/officeDocument/2006/relationships/tags" Target="../tags/tag500.xml"/><Relationship Id="rId10" Type="http://schemas.openxmlformats.org/officeDocument/2006/relationships/notesSlide" Target="../notesSlides/notesSlide12.xml"/><Relationship Id="rId4" Type="http://schemas.openxmlformats.org/officeDocument/2006/relationships/tags" Target="../tags/tag499.xml"/><Relationship Id="rId9" Type="http://schemas.openxmlformats.org/officeDocument/2006/relationships/slideLayout" Target="../slideLayouts/slideLayout124.xml"/></Relationships>
</file>

<file path=ppt/slides/_rels/slide1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505.xml"/><Relationship Id="rId7" Type="http://schemas.openxmlformats.org/officeDocument/2006/relationships/oleObject" Target="../embeddings/oleObject259.bin"/><Relationship Id="rId2" Type="http://schemas.openxmlformats.org/officeDocument/2006/relationships/tags" Target="../tags/tag504.xml"/><Relationship Id="rId1" Type="http://schemas.openxmlformats.org/officeDocument/2006/relationships/vmlDrawing" Target="../drawings/vmlDrawing421.vml"/><Relationship Id="rId6" Type="http://schemas.openxmlformats.org/officeDocument/2006/relationships/notesSlide" Target="../notesSlides/notesSlide13.xml"/><Relationship Id="rId5" Type="http://schemas.openxmlformats.org/officeDocument/2006/relationships/slideLayout" Target="../slideLayouts/slideLayout181.xml"/><Relationship Id="rId4" Type="http://schemas.openxmlformats.org/officeDocument/2006/relationships/tags" Target="../tags/tag506.xml"/></Relationships>
</file>

<file path=ppt/slides/_rels/slide17.xml.rels><?xml version="1.0" encoding="UTF-8" standalone="yes"?>
<Relationships xmlns="http://schemas.openxmlformats.org/package/2006/relationships"><Relationship Id="rId3" Type="http://schemas.openxmlformats.org/officeDocument/2006/relationships/tags" Target="../tags/tag508.xml"/><Relationship Id="rId2" Type="http://schemas.openxmlformats.org/officeDocument/2006/relationships/tags" Target="../tags/tag507.xml"/><Relationship Id="rId1" Type="http://schemas.openxmlformats.org/officeDocument/2006/relationships/vmlDrawing" Target="../drawings/vmlDrawing422.vml"/><Relationship Id="rId6" Type="http://schemas.openxmlformats.org/officeDocument/2006/relationships/image" Target="../media/image20.emf"/><Relationship Id="rId5" Type="http://schemas.openxmlformats.org/officeDocument/2006/relationships/oleObject" Target="../embeddings/oleObject260.bin"/><Relationship Id="rId4" Type="http://schemas.openxmlformats.org/officeDocument/2006/relationships/slideLayout" Target="../slideLayouts/slideLayout205.xml"/></Relationships>
</file>

<file path=ppt/slides/_rels/slide18.xml.rels><?xml version="1.0" encoding="UTF-8" standalone="yes"?>
<Relationships xmlns="http://schemas.openxmlformats.org/package/2006/relationships"><Relationship Id="rId3" Type="http://schemas.openxmlformats.org/officeDocument/2006/relationships/tags" Target="../tags/tag510.xml"/><Relationship Id="rId2" Type="http://schemas.openxmlformats.org/officeDocument/2006/relationships/tags" Target="../tags/tag509.xml"/><Relationship Id="rId1" Type="http://schemas.openxmlformats.org/officeDocument/2006/relationships/vmlDrawing" Target="../drawings/vmlDrawing423.vml"/><Relationship Id="rId6" Type="http://schemas.openxmlformats.org/officeDocument/2006/relationships/image" Target="../media/image20.emf"/><Relationship Id="rId5" Type="http://schemas.openxmlformats.org/officeDocument/2006/relationships/oleObject" Target="../embeddings/oleObject261.bin"/><Relationship Id="rId4" Type="http://schemas.openxmlformats.org/officeDocument/2006/relationships/slideLayout" Target="../slideLayouts/slideLayout205.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162.xml"/></Relationships>
</file>

<file path=ppt/slides/_rels/slide2.xml.rels><?xml version="1.0" encoding="UTF-8" standalone="yes"?>
<Relationships xmlns="http://schemas.openxmlformats.org/package/2006/relationships"><Relationship Id="rId3" Type="http://schemas.openxmlformats.org/officeDocument/2006/relationships/tags" Target="../tags/tag449.xml"/><Relationship Id="rId7" Type="http://schemas.openxmlformats.org/officeDocument/2006/relationships/image" Target="../media/image20.emf"/><Relationship Id="rId2" Type="http://schemas.openxmlformats.org/officeDocument/2006/relationships/tags" Target="../tags/tag448.xml"/><Relationship Id="rId1" Type="http://schemas.openxmlformats.org/officeDocument/2006/relationships/vmlDrawing" Target="../drawings/vmlDrawing407.vml"/><Relationship Id="rId6" Type="http://schemas.openxmlformats.org/officeDocument/2006/relationships/oleObject" Target="../embeddings/oleObject245.bin"/><Relationship Id="rId5" Type="http://schemas.openxmlformats.org/officeDocument/2006/relationships/notesSlide" Target="../notesSlides/notesSlide2.xml"/><Relationship Id="rId4"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tags" Target="../tags/tag451.xml"/><Relationship Id="rId7" Type="http://schemas.openxmlformats.org/officeDocument/2006/relationships/image" Target="../media/image20.emf"/><Relationship Id="rId2" Type="http://schemas.openxmlformats.org/officeDocument/2006/relationships/tags" Target="../tags/tag450.xml"/><Relationship Id="rId1" Type="http://schemas.openxmlformats.org/officeDocument/2006/relationships/vmlDrawing" Target="../drawings/vmlDrawing408.vml"/><Relationship Id="rId6" Type="http://schemas.openxmlformats.org/officeDocument/2006/relationships/oleObject" Target="../embeddings/oleObject246.bin"/><Relationship Id="rId5" Type="http://schemas.openxmlformats.org/officeDocument/2006/relationships/notesSlide" Target="../notesSlides/notesSlide3.xml"/><Relationship Id="rId4"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tags" Target="../tags/tag453.xml"/><Relationship Id="rId7" Type="http://schemas.openxmlformats.org/officeDocument/2006/relationships/image" Target="../media/image20.emf"/><Relationship Id="rId2" Type="http://schemas.openxmlformats.org/officeDocument/2006/relationships/tags" Target="../tags/tag452.xml"/><Relationship Id="rId1" Type="http://schemas.openxmlformats.org/officeDocument/2006/relationships/vmlDrawing" Target="../drawings/vmlDrawing409.vml"/><Relationship Id="rId6" Type="http://schemas.openxmlformats.org/officeDocument/2006/relationships/oleObject" Target="../embeddings/oleObject247.bin"/><Relationship Id="rId5" Type="http://schemas.openxmlformats.org/officeDocument/2006/relationships/notesSlide" Target="../notesSlides/notesSlide4.xml"/><Relationship Id="rId4"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tags" Target="../tags/tag455.xml"/><Relationship Id="rId7" Type="http://schemas.openxmlformats.org/officeDocument/2006/relationships/image" Target="../media/image20.emf"/><Relationship Id="rId2" Type="http://schemas.openxmlformats.org/officeDocument/2006/relationships/tags" Target="../tags/tag454.xml"/><Relationship Id="rId1" Type="http://schemas.openxmlformats.org/officeDocument/2006/relationships/vmlDrawing" Target="../drawings/vmlDrawing410.vml"/><Relationship Id="rId6" Type="http://schemas.openxmlformats.org/officeDocument/2006/relationships/oleObject" Target="../embeddings/oleObject248.bin"/><Relationship Id="rId5" Type="http://schemas.openxmlformats.org/officeDocument/2006/relationships/notesSlide" Target="../notesSlides/notesSlide5.xml"/><Relationship Id="rId4"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tags" Target="../tags/tag457.xml"/><Relationship Id="rId2" Type="http://schemas.openxmlformats.org/officeDocument/2006/relationships/tags" Target="../tags/tag456.xml"/><Relationship Id="rId1" Type="http://schemas.openxmlformats.org/officeDocument/2006/relationships/vmlDrawing" Target="../drawings/vmlDrawing411.vml"/><Relationship Id="rId6" Type="http://schemas.openxmlformats.org/officeDocument/2006/relationships/image" Target="../media/image20.emf"/><Relationship Id="rId5" Type="http://schemas.openxmlformats.org/officeDocument/2006/relationships/oleObject" Target="../embeddings/oleObject249.bin"/><Relationship Id="rId4" Type="http://schemas.openxmlformats.org/officeDocument/2006/relationships/slideLayout" Target="../slideLayouts/slideLayout96.xml"/></Relationships>
</file>

<file path=ppt/slides/_rels/slide7.xml.rels><?xml version="1.0" encoding="UTF-8" standalone="yes"?>
<Relationships xmlns="http://schemas.openxmlformats.org/package/2006/relationships"><Relationship Id="rId8" Type="http://schemas.openxmlformats.org/officeDocument/2006/relationships/tags" Target="../tags/tag464.xml"/><Relationship Id="rId13" Type="http://schemas.openxmlformats.org/officeDocument/2006/relationships/oleObject" Target="../embeddings/oleObject250.bin"/><Relationship Id="rId3" Type="http://schemas.openxmlformats.org/officeDocument/2006/relationships/tags" Target="../tags/tag459.xml"/><Relationship Id="rId7" Type="http://schemas.openxmlformats.org/officeDocument/2006/relationships/tags" Target="../tags/tag463.xml"/><Relationship Id="rId12" Type="http://schemas.openxmlformats.org/officeDocument/2006/relationships/notesSlide" Target="../notesSlides/notesSlide6.xml"/><Relationship Id="rId2" Type="http://schemas.openxmlformats.org/officeDocument/2006/relationships/tags" Target="../tags/tag458.xml"/><Relationship Id="rId1" Type="http://schemas.openxmlformats.org/officeDocument/2006/relationships/vmlDrawing" Target="../drawings/vmlDrawing412.vml"/><Relationship Id="rId6" Type="http://schemas.openxmlformats.org/officeDocument/2006/relationships/tags" Target="../tags/tag462.xml"/><Relationship Id="rId11" Type="http://schemas.openxmlformats.org/officeDocument/2006/relationships/slideLayout" Target="../slideLayouts/slideLayout205.xml"/><Relationship Id="rId5" Type="http://schemas.openxmlformats.org/officeDocument/2006/relationships/tags" Target="../tags/tag461.xml"/><Relationship Id="rId15" Type="http://schemas.openxmlformats.org/officeDocument/2006/relationships/chart" Target="../charts/chart1.xml"/><Relationship Id="rId10" Type="http://schemas.openxmlformats.org/officeDocument/2006/relationships/tags" Target="../tags/tag466.xml"/><Relationship Id="rId4" Type="http://schemas.openxmlformats.org/officeDocument/2006/relationships/tags" Target="../tags/tag460.xml"/><Relationship Id="rId9" Type="http://schemas.openxmlformats.org/officeDocument/2006/relationships/tags" Target="../tags/tag465.xml"/><Relationship Id="rId14" Type="http://schemas.openxmlformats.org/officeDocument/2006/relationships/image" Target="../media/image8.emf"/></Relationships>
</file>

<file path=ppt/slides/_rels/slide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68.xml"/><Relationship Id="rId7" Type="http://schemas.openxmlformats.org/officeDocument/2006/relationships/oleObject" Target="../embeddings/oleObject251.bin"/><Relationship Id="rId2" Type="http://schemas.openxmlformats.org/officeDocument/2006/relationships/tags" Target="../tags/tag467.xml"/><Relationship Id="rId1" Type="http://schemas.openxmlformats.org/officeDocument/2006/relationships/vmlDrawing" Target="../drawings/vmlDrawing413.vml"/><Relationship Id="rId6" Type="http://schemas.openxmlformats.org/officeDocument/2006/relationships/notesSlide" Target="../notesSlides/notesSlide7.xml"/><Relationship Id="rId5" Type="http://schemas.openxmlformats.org/officeDocument/2006/relationships/slideLayout" Target="../slideLayouts/slideLayout261.xml"/><Relationship Id="rId4" Type="http://schemas.openxmlformats.org/officeDocument/2006/relationships/tags" Target="../tags/tag469.xml"/></Relationships>
</file>

<file path=ppt/slides/_rels/slide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71.xml"/><Relationship Id="rId7" Type="http://schemas.openxmlformats.org/officeDocument/2006/relationships/oleObject" Target="../embeddings/oleObject252.bin"/><Relationship Id="rId2" Type="http://schemas.openxmlformats.org/officeDocument/2006/relationships/tags" Target="../tags/tag470.xml"/><Relationship Id="rId1" Type="http://schemas.openxmlformats.org/officeDocument/2006/relationships/vmlDrawing" Target="../drawings/vmlDrawing414.vml"/><Relationship Id="rId6" Type="http://schemas.openxmlformats.org/officeDocument/2006/relationships/notesSlide" Target="../notesSlides/notesSlide8.xml"/><Relationship Id="rId5" Type="http://schemas.openxmlformats.org/officeDocument/2006/relationships/slideLayout" Target="../slideLayouts/slideLayout124.xml"/><Relationship Id="rId4" Type="http://schemas.openxmlformats.org/officeDocument/2006/relationships/tags" Target="../tags/tag4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819"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85AECE6-392E-4700-B852-822D705713D0}"/>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Open Sans Semibold" panose="020B0706030804020204" pitchFamily="34" charset="0"/>
            </a:endParaRPr>
          </a:p>
        </p:txBody>
      </p:sp>
      <p:sp>
        <p:nvSpPr>
          <p:cNvPr id="3" name="Title 2"/>
          <p:cNvSpPr>
            <a:spLocks noGrp="1"/>
          </p:cNvSpPr>
          <p:nvPr>
            <p:ph type="ctrTitle"/>
          </p:nvPr>
        </p:nvSpPr>
        <p:spPr>
          <a:xfrm>
            <a:off x="685800" y="4440254"/>
            <a:ext cx="11315700" cy="891019"/>
          </a:xfrm>
        </p:spPr>
        <p:txBody>
          <a:bodyPr>
            <a:noAutofit/>
          </a:bodyPr>
          <a:lstStyle/>
          <a:p>
            <a:r>
              <a:rPr lang="en-US" sz="3200" dirty="0">
                <a:latin typeface="+mj-lt"/>
              </a:rPr>
              <a:t>Commissioner's K-12 COVID-19 Relief Funds Task Force</a:t>
            </a:r>
            <a:br>
              <a:rPr lang="en-US" sz="3200" dirty="0">
                <a:latin typeface="+mj-lt"/>
              </a:rPr>
            </a:br>
            <a:endParaRPr lang="en-US" sz="3200" dirty="0">
              <a:latin typeface="+mj-lt"/>
            </a:endParaRPr>
          </a:p>
        </p:txBody>
      </p:sp>
      <p:sp>
        <p:nvSpPr>
          <p:cNvPr id="4" name="Subtitle 3"/>
          <p:cNvSpPr>
            <a:spLocks noGrp="1"/>
          </p:cNvSpPr>
          <p:nvPr>
            <p:ph type="subTitle" idx="1"/>
          </p:nvPr>
        </p:nvSpPr>
        <p:spPr/>
        <p:txBody>
          <a:bodyPr/>
          <a:lstStyle/>
          <a:p>
            <a:r>
              <a:rPr lang="en-US" b="1" dirty="0">
                <a:latin typeface="+mj-lt"/>
              </a:rPr>
              <a:t>Presentation to House K-12 Budget Committee</a:t>
            </a:r>
            <a:br>
              <a:rPr lang="en-US" b="1" dirty="0"/>
            </a:br>
            <a:r>
              <a:rPr lang="en-US" dirty="0"/>
              <a:t>March 24, 2021</a:t>
            </a:r>
          </a:p>
        </p:txBody>
      </p:sp>
    </p:spTree>
    <p:extLst>
      <p:ext uri="{BB962C8B-B14F-4D97-AF65-F5344CB8AC3E}">
        <p14:creationId xmlns:p14="http://schemas.microsoft.com/office/powerpoint/2010/main" val="106799231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6227" name="think-cell Slide" r:id="rId19" imgW="286" imgH="286" progId="TCLayout.ActiveDocument.1">
                  <p:embed/>
                </p:oleObj>
              </mc:Choice>
              <mc:Fallback>
                <p:oleObj name="think-cell Slide" r:id="rId19" imgW="286" imgH="286" progId="TCLayout.ActiveDocument.1">
                  <p:embed/>
                  <p:pic>
                    <p:nvPicPr>
                      <p:cNvPr id="2" name="Object 1"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59CF42-E090-4528-81B5-26082596BF68}"/>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50" name="Rectangle 49">
            <a:extLst>
              <a:ext uri="{FF2B5EF4-FFF2-40B4-BE49-F238E27FC236}">
                <a16:creationId xmlns:a16="http://schemas.microsoft.com/office/drawing/2014/main" id="{F656E2C1-9D72-4178-888B-20D604EF91E0}"/>
              </a:ext>
            </a:extLst>
          </p:cNvPr>
          <p:cNvSpPr/>
          <p:nvPr/>
        </p:nvSpPr>
        <p:spPr>
          <a:xfrm>
            <a:off x="4146550" y="2029143"/>
            <a:ext cx="7450126" cy="380118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1" name="Rectangle 50" hidden="1">
            <a:extLst>
              <a:ext uri="{FF2B5EF4-FFF2-40B4-BE49-F238E27FC236}">
                <a16:creationId xmlns:a16="http://schemas.microsoft.com/office/drawing/2014/main" id="{E617311F-2BA8-4B20-BAB6-ABD313A083D2}"/>
              </a:ext>
            </a:extLst>
          </p:cNvPr>
          <p:cNvSpPr/>
          <p:nvPr>
            <p:custDataLst>
              <p:tags r:id="rId4"/>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5" name="Title 4">
            <a:extLst>
              <a:ext uri="{FF2B5EF4-FFF2-40B4-BE49-F238E27FC236}">
                <a16:creationId xmlns:a16="http://schemas.microsoft.com/office/drawing/2014/main" id="{1DE6003C-D919-42E6-BED0-C9DE4228CF07}"/>
              </a:ext>
            </a:extLst>
          </p:cNvPr>
          <p:cNvSpPr>
            <a:spLocks noGrp="1"/>
          </p:cNvSpPr>
          <p:nvPr>
            <p:ph type="title"/>
          </p:nvPr>
        </p:nvSpPr>
        <p:spPr>
          <a:xfrm>
            <a:off x="630000" y="622800"/>
            <a:ext cx="10933350" cy="886397"/>
          </a:xfrm>
        </p:spPr>
        <p:txBody>
          <a:bodyPr/>
          <a:lstStyle/>
          <a:p>
            <a:r>
              <a:rPr lang="en-US" sz="3200" dirty="0"/>
              <a:t>…as well as summary reports of applications, requests, and recommendations across all schools</a:t>
            </a:r>
          </a:p>
        </p:txBody>
      </p:sp>
      <p:sp>
        <p:nvSpPr>
          <p:cNvPr id="33" name="Rectangle 32">
            <a:extLst>
              <a:ext uri="{FF2B5EF4-FFF2-40B4-BE49-F238E27FC236}">
                <a16:creationId xmlns:a16="http://schemas.microsoft.com/office/drawing/2014/main" id="{AA1DC84E-13D5-4D8C-928E-887A42BF40AB}"/>
              </a:ext>
            </a:extLst>
          </p:cNvPr>
          <p:cNvSpPr/>
          <p:nvPr/>
        </p:nvSpPr>
        <p:spPr>
          <a:xfrm>
            <a:off x="4146550" y="1761059"/>
            <a:ext cx="7450126" cy="268288"/>
          </a:xfrm>
          <a:prstGeom prst="rect">
            <a:avLst/>
          </a:prstGeom>
          <a:solidFill>
            <a:srgbClr val="01B09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Open Sans"/>
                <a:ea typeface="+mn-ea"/>
                <a:cs typeface="+mn-cs"/>
              </a:rPr>
              <a:t>SAMPLE SUMMARY OUTPUTS (DATA IS ILLUSTRATIVE)</a:t>
            </a:r>
          </a:p>
        </p:txBody>
      </p:sp>
      <p:graphicFrame>
        <p:nvGraphicFramePr>
          <p:cNvPr id="135" name="Chart 134">
            <a:extLst>
              <a:ext uri="{FF2B5EF4-FFF2-40B4-BE49-F238E27FC236}">
                <a16:creationId xmlns:a16="http://schemas.microsoft.com/office/drawing/2014/main" id="{45F9E7D0-CA5A-4CDA-8AE6-9FE7AC200DDD}"/>
              </a:ext>
            </a:extLst>
          </p:cNvPr>
          <p:cNvGraphicFramePr/>
          <p:nvPr>
            <p:custDataLst>
              <p:tags r:id="rId5"/>
            </p:custDataLst>
          </p:nvPr>
        </p:nvGraphicFramePr>
        <p:xfrm>
          <a:off x="4314825" y="3521075"/>
          <a:ext cx="4271963" cy="1946275"/>
        </p:xfrm>
        <a:graphic>
          <a:graphicData uri="http://schemas.openxmlformats.org/drawingml/2006/chart">
            <c:chart xmlns:c="http://schemas.openxmlformats.org/drawingml/2006/chart" xmlns:r="http://schemas.openxmlformats.org/officeDocument/2006/relationships" r:id="rId21"/>
          </a:graphicData>
        </a:graphic>
      </p:graphicFrame>
      <p:sp>
        <p:nvSpPr>
          <p:cNvPr id="36" name="Text Placeholder 3">
            <a:extLst>
              <a:ext uri="{FF2B5EF4-FFF2-40B4-BE49-F238E27FC236}">
                <a16:creationId xmlns:a16="http://schemas.microsoft.com/office/drawing/2014/main" id="{009D86EC-31D6-4BA9-8746-F3FAFCED1D7A}"/>
              </a:ext>
            </a:extLst>
          </p:cNvPr>
          <p:cNvSpPr>
            <a:spLocks noGrp="1"/>
          </p:cNvSpPr>
          <p:nvPr>
            <p:custDataLst>
              <p:tags r:id="rId6"/>
            </p:custDataLst>
          </p:nvPr>
        </p:nvSpPr>
        <p:spPr bwMode="gray">
          <a:xfrm>
            <a:off x="6600825" y="5435600"/>
            <a:ext cx="7286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fld id="{75951B72-D34A-4336-8C5E-0EE54A88F59B}" type="datetime'''P''e''''''r''''''''son''''n''e''''''''''''''''''l'''">
              <a:rPr kumimoji="0" lang="en-US" altLang="en-US" sz="1200" b="0" i="0" u="none" strike="noStrike" kern="1200" cap="none" spc="0" normalizeH="0" baseline="0" noProof="0" smtClean="0">
                <a:ln>
                  <a:noFill/>
                </a:ln>
                <a:solidFill>
                  <a:srgbClr val="12284C"/>
                </a:solidFill>
                <a:effectLst/>
                <a:uLnTx/>
                <a:uFillTx/>
                <a:latin typeface="Open San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t>Personnel</a:t>
            </a:fld>
            <a:endParaRPr kumimoji="0" lang="en-US" sz="1200" b="0" i="0" u="none" strike="noStrike" kern="1200" cap="none" spc="0" normalizeH="0" baseline="0" noProof="0" dirty="0">
              <a:ln>
                <a:noFill/>
              </a:ln>
              <a:solidFill>
                <a:srgbClr val="12284C"/>
              </a:solidFill>
              <a:effectLst/>
              <a:uLnTx/>
              <a:uFillTx/>
              <a:latin typeface="Open Sans"/>
              <a:ea typeface="+mn-ea"/>
              <a:cs typeface="+mn-cs"/>
              <a:sym typeface="+mn-lt"/>
            </a:endParaRPr>
          </a:p>
        </p:txBody>
      </p:sp>
      <p:sp>
        <p:nvSpPr>
          <p:cNvPr id="37" name="Text Placeholder 3">
            <a:extLst>
              <a:ext uri="{FF2B5EF4-FFF2-40B4-BE49-F238E27FC236}">
                <a16:creationId xmlns:a16="http://schemas.microsoft.com/office/drawing/2014/main" id="{346B35D8-4AD4-4777-8833-D988C65C0235}"/>
              </a:ext>
            </a:extLst>
          </p:cNvPr>
          <p:cNvSpPr>
            <a:spLocks noGrp="1"/>
          </p:cNvSpPr>
          <p:nvPr>
            <p:custDataLst>
              <p:tags r:id="rId7"/>
            </p:custDataLst>
          </p:nvPr>
        </p:nvSpPr>
        <p:spPr bwMode="gray">
          <a:xfrm>
            <a:off x="4589463" y="5435600"/>
            <a:ext cx="6429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fld id="{7A8A7813-CC38-4257-B2B3-7AAC2002CE2C}" type="datetime'''P''''''r''''o''''''d''''u''''''ct''''''''''''''s'''''''''">
              <a:rPr kumimoji="0" lang="en-US" altLang="en-US" sz="1200" b="0" i="0" u="none" strike="noStrike" kern="1200" cap="none" spc="0" normalizeH="0" baseline="0" noProof="0" smtClean="0">
                <a:ln>
                  <a:noFill/>
                </a:ln>
                <a:solidFill>
                  <a:srgbClr val="12284C"/>
                </a:solidFill>
                <a:effectLst/>
                <a:uLnTx/>
                <a:uFillTx/>
                <a:latin typeface="Open San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t>Products</a:t>
            </a:fld>
            <a:endParaRPr kumimoji="0" lang="en-US" sz="1200" b="0" i="0" u="none" strike="noStrike" kern="1200" cap="none" spc="0" normalizeH="0" baseline="0" noProof="0" dirty="0">
              <a:ln>
                <a:noFill/>
              </a:ln>
              <a:solidFill>
                <a:srgbClr val="12284C"/>
              </a:solidFill>
              <a:effectLst/>
              <a:uLnTx/>
              <a:uFillTx/>
              <a:latin typeface="Open Sans"/>
              <a:ea typeface="+mn-ea"/>
              <a:cs typeface="+mn-cs"/>
              <a:sym typeface="+mn-lt"/>
            </a:endParaRPr>
          </a:p>
        </p:txBody>
      </p:sp>
      <p:sp>
        <p:nvSpPr>
          <p:cNvPr id="39" name="Text Placeholder 3">
            <a:extLst>
              <a:ext uri="{FF2B5EF4-FFF2-40B4-BE49-F238E27FC236}">
                <a16:creationId xmlns:a16="http://schemas.microsoft.com/office/drawing/2014/main" id="{7D739BDE-B52C-470F-A077-4B0E56AFC84A}"/>
              </a:ext>
            </a:extLst>
          </p:cNvPr>
          <p:cNvSpPr>
            <a:spLocks noGrp="1"/>
          </p:cNvSpPr>
          <p:nvPr>
            <p:custDataLst>
              <p:tags r:id="rId8"/>
            </p:custDataLst>
          </p:nvPr>
        </p:nvSpPr>
        <p:spPr bwMode="gray">
          <a:xfrm>
            <a:off x="7377113" y="5435600"/>
            <a:ext cx="12271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fld id="{51CDCB51-6393-403F-B58E-93A1FD0CF091}" type="datetime'''''R''''''eim''''bu''''''''r''''s''''''e''''''me''n''ts'">
              <a:rPr kumimoji="0" lang="en-US" altLang="en-US" sz="1200" b="0" i="0" u="none" strike="noStrike" kern="1200" cap="none" spc="0" normalizeH="0" baseline="0" noProof="0" smtClean="0">
                <a:ln>
                  <a:noFill/>
                </a:ln>
                <a:solidFill>
                  <a:srgbClr val="12284C"/>
                </a:solidFill>
                <a:effectLst/>
                <a:uLnTx/>
                <a:uFillTx/>
                <a:latin typeface="Open San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t>Reimbursements</a:t>
            </a:fld>
            <a:endParaRPr kumimoji="0" lang="en-US" sz="1200" b="0" i="0" u="none" strike="noStrike" kern="1200" cap="none" spc="0" normalizeH="0" baseline="0" noProof="0" dirty="0">
              <a:ln>
                <a:noFill/>
              </a:ln>
              <a:solidFill>
                <a:srgbClr val="12284C"/>
              </a:solidFill>
              <a:effectLst/>
              <a:uLnTx/>
              <a:uFillTx/>
              <a:latin typeface="Open Sans"/>
              <a:ea typeface="+mn-ea"/>
              <a:cs typeface="+mn-cs"/>
              <a:sym typeface="+mn-lt"/>
            </a:endParaRPr>
          </a:p>
        </p:txBody>
      </p:sp>
      <p:sp>
        <p:nvSpPr>
          <p:cNvPr id="38" name="Text Placeholder 3">
            <a:extLst>
              <a:ext uri="{FF2B5EF4-FFF2-40B4-BE49-F238E27FC236}">
                <a16:creationId xmlns:a16="http://schemas.microsoft.com/office/drawing/2014/main" id="{C0A5F3DD-71F3-4428-9A38-402DE5B49066}"/>
              </a:ext>
            </a:extLst>
          </p:cNvPr>
          <p:cNvSpPr>
            <a:spLocks noGrp="1"/>
          </p:cNvSpPr>
          <p:nvPr>
            <p:custDataLst>
              <p:tags r:id="rId9"/>
            </p:custDataLst>
          </p:nvPr>
        </p:nvSpPr>
        <p:spPr bwMode="gray">
          <a:xfrm>
            <a:off x="5641975" y="5435600"/>
            <a:ext cx="5905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fld id="{2CF11A12-1923-440C-9396-02C5EC723AD5}" type="datetime'S''''''e''''''r''''v''''''''''ic''''''''''''''e''''''s'">
              <a:rPr kumimoji="0" lang="en-US" altLang="en-US" sz="1200" b="0" i="0" u="none" strike="noStrike" kern="1200" cap="none" spc="0" normalizeH="0" baseline="0" noProof="0" smtClean="0">
                <a:ln>
                  <a:noFill/>
                </a:ln>
                <a:solidFill>
                  <a:srgbClr val="12284C"/>
                </a:solidFill>
                <a:effectLst/>
                <a:uLnTx/>
                <a:uFillTx/>
                <a:latin typeface="Open San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t>Services</a:t>
            </a:fld>
            <a:endParaRPr kumimoji="0" lang="en-US" sz="1200" b="0" i="0" u="none" strike="noStrike" kern="1200" cap="none" spc="0" normalizeH="0" baseline="0" noProof="0" dirty="0">
              <a:ln>
                <a:noFill/>
              </a:ln>
              <a:solidFill>
                <a:srgbClr val="12284C"/>
              </a:solidFill>
              <a:effectLst/>
              <a:uLnTx/>
              <a:uFillTx/>
              <a:latin typeface="Open Sans"/>
              <a:ea typeface="+mn-ea"/>
              <a:cs typeface="+mn-cs"/>
              <a:sym typeface="+mn-lt"/>
            </a:endParaRPr>
          </a:p>
        </p:txBody>
      </p:sp>
      <p:sp>
        <p:nvSpPr>
          <p:cNvPr id="45" name="TextBox 44">
            <a:extLst>
              <a:ext uri="{FF2B5EF4-FFF2-40B4-BE49-F238E27FC236}">
                <a16:creationId xmlns:a16="http://schemas.microsoft.com/office/drawing/2014/main" id="{A47BA7E9-6256-42D6-B428-38510F303DD7}"/>
              </a:ext>
            </a:extLst>
          </p:cNvPr>
          <p:cNvSpPr txBox="1"/>
          <p:nvPr/>
        </p:nvSpPr>
        <p:spPr>
          <a:xfrm>
            <a:off x="5133682" y="2960172"/>
            <a:ext cx="2634247"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mn-ea"/>
                <a:cs typeface="+mn-cs"/>
              </a:rPr>
              <a:t>Requests by category</a:t>
            </a:r>
          </a:p>
        </p:txBody>
      </p:sp>
      <p:sp>
        <p:nvSpPr>
          <p:cNvPr id="52" name="TextBox 51">
            <a:extLst>
              <a:ext uri="{FF2B5EF4-FFF2-40B4-BE49-F238E27FC236}">
                <a16:creationId xmlns:a16="http://schemas.microsoft.com/office/drawing/2014/main" id="{94D5A549-E41A-41E1-AAF9-666D0C5EAC51}"/>
              </a:ext>
            </a:extLst>
          </p:cNvPr>
          <p:cNvSpPr txBox="1"/>
          <p:nvPr/>
        </p:nvSpPr>
        <p:spPr>
          <a:xfrm>
            <a:off x="5454650" y="2288024"/>
            <a:ext cx="2049463"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mn-ea"/>
                <a:cs typeface="+mn-cs"/>
              </a:rPr>
              <a:t>Total requested:</a:t>
            </a:r>
          </a:p>
        </p:txBody>
      </p:sp>
      <p:sp>
        <p:nvSpPr>
          <p:cNvPr id="53" name="TextBox 52">
            <a:extLst>
              <a:ext uri="{FF2B5EF4-FFF2-40B4-BE49-F238E27FC236}">
                <a16:creationId xmlns:a16="http://schemas.microsoft.com/office/drawing/2014/main" id="{EAD1D2F9-22FF-47C9-9714-BBB916889D25}"/>
              </a:ext>
            </a:extLst>
          </p:cNvPr>
          <p:cNvSpPr txBox="1"/>
          <p:nvPr/>
        </p:nvSpPr>
        <p:spPr>
          <a:xfrm>
            <a:off x="7458074" y="2210753"/>
            <a:ext cx="1149350" cy="5238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2284C"/>
                </a:solidFill>
                <a:effectLst/>
                <a:uLnTx/>
                <a:uFillTx/>
                <a:latin typeface="Open Sans"/>
                <a:ea typeface="+mn-ea"/>
                <a:cs typeface="+mn-cs"/>
              </a:rPr>
              <a:t>$22M</a:t>
            </a:r>
          </a:p>
        </p:txBody>
      </p:sp>
      <p:sp>
        <p:nvSpPr>
          <p:cNvPr id="54" name="TextBox 53">
            <a:extLst>
              <a:ext uri="{FF2B5EF4-FFF2-40B4-BE49-F238E27FC236}">
                <a16:creationId xmlns:a16="http://schemas.microsoft.com/office/drawing/2014/main" id="{096E0E11-8E6D-4F3A-96AC-406BA427FE72}"/>
              </a:ext>
            </a:extLst>
          </p:cNvPr>
          <p:cNvSpPr txBox="1"/>
          <p:nvPr/>
        </p:nvSpPr>
        <p:spPr>
          <a:xfrm>
            <a:off x="8580438" y="2210753"/>
            <a:ext cx="1581150" cy="5238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DD1E36"/>
                </a:solidFill>
                <a:effectLst/>
                <a:uLnTx/>
                <a:uFillTx/>
                <a:latin typeface="Open Sans"/>
                <a:ea typeface="+mn-ea"/>
                <a:cs typeface="+mn-cs"/>
              </a:rPr>
              <a:t>$5M remaining of $27M allocation</a:t>
            </a:r>
            <a:endParaRPr kumimoji="0" lang="en-US" sz="1800" b="0" i="1" u="none" strike="noStrike" kern="1200" cap="none" spc="0" normalizeH="0" baseline="0" noProof="0" dirty="0">
              <a:ln>
                <a:noFill/>
              </a:ln>
              <a:solidFill>
                <a:srgbClr val="DD1E36"/>
              </a:solidFill>
              <a:effectLst/>
              <a:uLnTx/>
              <a:uFillTx/>
              <a:latin typeface="Open Sans"/>
              <a:ea typeface="+mn-ea"/>
              <a:cs typeface="+mn-cs"/>
            </a:endParaRPr>
          </a:p>
        </p:txBody>
      </p:sp>
      <p:sp>
        <p:nvSpPr>
          <p:cNvPr id="7" name="Right Brace 6">
            <a:extLst>
              <a:ext uri="{FF2B5EF4-FFF2-40B4-BE49-F238E27FC236}">
                <a16:creationId xmlns:a16="http://schemas.microsoft.com/office/drawing/2014/main" id="{8E6777B9-123D-409C-A979-EC6E87291BB3}"/>
              </a:ext>
            </a:extLst>
          </p:cNvPr>
          <p:cNvSpPr/>
          <p:nvPr/>
        </p:nvSpPr>
        <p:spPr>
          <a:xfrm flipH="1">
            <a:off x="3486151" y="1761059"/>
            <a:ext cx="454025" cy="4203179"/>
          </a:xfrm>
          <a:prstGeom prst="rightBrac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61" name="ee4pContent1">
            <a:extLst>
              <a:ext uri="{FF2B5EF4-FFF2-40B4-BE49-F238E27FC236}">
                <a16:creationId xmlns:a16="http://schemas.microsoft.com/office/drawing/2014/main" id="{6E08E98B-42C5-4648-98F8-9C98BA4B8CF1}"/>
              </a:ext>
            </a:extLst>
          </p:cNvPr>
          <p:cNvSpPr txBox="1"/>
          <p:nvPr/>
        </p:nvSpPr>
        <p:spPr>
          <a:xfrm>
            <a:off x="588541" y="4056623"/>
            <a:ext cx="3123862" cy="177370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12284C"/>
              </a:buClr>
              <a:buSzPct val="100000"/>
              <a:buFont typeface="Trebuchet MS" panose="020B0603020202020204" pitchFamily="34" charset="0"/>
              <a:buChar char="​"/>
              <a:defRPr sz="1200">
                <a:solidFill>
                  <a:srgbClr val="12284C"/>
                </a:solidFill>
              </a:defRPr>
            </a:lvl1pPr>
            <a:lvl2pPr marL="324000" lvl="1" indent="-216000">
              <a:buClr>
                <a:srgbClr val="12284C"/>
              </a:buClr>
              <a:buSzPct val="100000"/>
              <a:buFont typeface="Trebuchet MS" panose="020B0603020202020204" pitchFamily="34" charset="0"/>
              <a:buChar char="•"/>
              <a:defRPr sz="1200">
                <a:solidFill>
                  <a:srgbClr val="12284C"/>
                </a:solidFill>
              </a:defRPr>
            </a:lvl2pPr>
            <a:lvl3pPr marL="648000" lvl="2" indent="-216000">
              <a:buClr>
                <a:srgbClr val="12284C"/>
              </a:buClr>
              <a:buSzPct val="100000"/>
              <a:buFont typeface="Trebuchet MS" panose="020B0603020202020204" pitchFamily="34" charset="0"/>
              <a:buChar char="–"/>
              <a:defRPr sz="1200">
                <a:solidFill>
                  <a:srgbClr val="12284C"/>
                </a:solidFill>
              </a:defRPr>
            </a:lvl3pPr>
            <a:lvl4pPr marL="0" lvl="3">
              <a:buClr>
                <a:srgbClr val="12284C"/>
              </a:buClr>
              <a:buSzPct val="100000"/>
              <a:buFont typeface="Trebuchet MS" panose="020B0603020202020204" pitchFamily="34" charset="0"/>
              <a:buChar char="​"/>
              <a:defRPr sz="1600" b="1">
                <a:solidFill>
                  <a:srgbClr val="12284C"/>
                </a:solidFill>
              </a:defRPr>
            </a:lvl4pPr>
            <a:lvl5pPr marL="0" lvl="4">
              <a:buClr>
                <a:srgbClr val="12284C"/>
              </a:buClr>
              <a:buSzPct val="100000"/>
              <a:buFont typeface="Trebuchet MS" panose="020B0603020202020204" pitchFamily="34" charset="0"/>
              <a:buChar char="​"/>
              <a:defRPr sz="1600" b="1">
                <a:solidFill>
                  <a:srgbClr val="12284C"/>
                </a:solidFill>
              </a:defRPr>
            </a:lvl5pPr>
            <a:lvl6pPr marL="324000" lvl="5" indent="-216000">
              <a:buClr>
                <a:srgbClr val="12284C"/>
              </a:buClr>
              <a:buSzPct val="100000"/>
              <a:buFont typeface="Trebuchet MS" panose="020B0603020202020204" pitchFamily="34" charset="0"/>
              <a:buChar char="•"/>
              <a:defRPr sz="1600">
                <a:solidFill>
                  <a:srgbClr val="12284C"/>
                </a:solidFill>
              </a:defRPr>
            </a:lvl6pPr>
            <a:lvl7pPr marL="0" lvl="6">
              <a:buClr>
                <a:srgbClr val="12284C"/>
              </a:buClr>
              <a:buSzPct val="100000"/>
              <a:buFont typeface="Trebuchet MS" panose="020B0603020202020204" pitchFamily="34" charset="0"/>
              <a:buChar char="​"/>
              <a:defRPr sz="4400">
                <a:solidFill>
                  <a:srgbClr val="12284C"/>
                </a:solidFill>
              </a:defRPr>
            </a:lvl7pPr>
            <a:lvl8pPr marL="0" lvl="7">
              <a:buClr>
                <a:srgbClr val="12284C"/>
              </a:buClr>
              <a:buSzPct val="100000"/>
              <a:buFont typeface="Trebuchet MS" panose="020B0603020202020204" pitchFamily="34" charset="0"/>
              <a:buChar char="​"/>
              <a:defRPr sz="5400" b="1">
                <a:solidFill>
                  <a:srgbClr val="12284C"/>
                </a:solidFill>
              </a:defRPr>
            </a:lvl8pPr>
            <a:lvl9pPr marL="0" lvl="8">
              <a:buClr>
                <a:srgbClr val="12284C"/>
              </a:buClr>
              <a:buSzPct val="100000"/>
              <a:buFont typeface="Trebuchet MS" panose="020B0603020202020204" pitchFamily="34" charset="0"/>
              <a:buChar char="​"/>
              <a:defRPr sz="2400" b="1">
                <a:solidFill>
                  <a:srgbClr val="12284C"/>
                </a:solidFill>
              </a:defRPr>
            </a:lvl9pPr>
          </a:lstStyle>
          <a:p>
            <a:pPr marL="0" marR="0" lvl="0" indent="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600" b="0" i="0" u="none" strike="noStrike" kern="1200" cap="none" spc="0" normalizeH="0" baseline="0" noProof="0" dirty="0">
                <a:ln>
                  <a:noFill/>
                </a:ln>
                <a:solidFill>
                  <a:srgbClr val="54565A"/>
                </a:solidFill>
                <a:effectLst/>
                <a:uLnTx/>
                <a:uFillTx/>
                <a:latin typeface="Open Sans" panose="020B0606030504020204" pitchFamily="34" charset="0"/>
                <a:ea typeface="+mn-ea"/>
                <a:cs typeface="+mn-cs"/>
              </a:rPr>
              <a:t>KSDE will aggregate requests into summary reports of requested spend across categories and over time</a:t>
            </a:r>
          </a:p>
        </p:txBody>
      </p:sp>
      <p:sp>
        <p:nvSpPr>
          <p:cNvPr id="78" name="ee4pHeader1">
            <a:extLst>
              <a:ext uri="{FF2B5EF4-FFF2-40B4-BE49-F238E27FC236}">
                <a16:creationId xmlns:a16="http://schemas.microsoft.com/office/drawing/2014/main" id="{1C7D8C32-63C9-4E1C-851E-7BE8B25AE4C8}"/>
              </a:ext>
            </a:extLst>
          </p:cNvPr>
          <p:cNvSpPr txBox="1"/>
          <p:nvPr/>
        </p:nvSpPr>
        <p:spPr>
          <a:xfrm>
            <a:off x="588541" y="3218442"/>
            <a:ext cx="3123862" cy="601698"/>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2284C"/>
                </a:solidFill>
                <a:effectLst/>
                <a:uLnTx/>
                <a:uFillTx/>
                <a:latin typeface="Open Sans"/>
                <a:ea typeface="+mn-ea"/>
                <a:cs typeface="+mn-cs"/>
              </a:rPr>
              <a:t>Where is EANS </a:t>
            </a:r>
            <a:br>
              <a:rPr kumimoji="0" lang="en-US" sz="2000" b="1" i="0" u="none" strike="noStrike" kern="1200" cap="none" spc="0" normalizeH="0" baseline="0" noProof="0" dirty="0">
                <a:ln>
                  <a:noFill/>
                </a:ln>
                <a:solidFill>
                  <a:srgbClr val="12284C"/>
                </a:solidFill>
                <a:effectLst/>
                <a:uLnTx/>
                <a:uFillTx/>
                <a:latin typeface="Open Sans"/>
                <a:ea typeface="+mn-ea"/>
                <a:cs typeface="+mn-cs"/>
              </a:rPr>
            </a:br>
            <a:r>
              <a:rPr kumimoji="0" lang="en-US" sz="2000" b="1" i="0" u="none" strike="noStrike" kern="1200" cap="none" spc="0" normalizeH="0" baseline="0" noProof="0" dirty="0">
                <a:ln>
                  <a:noFill/>
                </a:ln>
                <a:solidFill>
                  <a:srgbClr val="12284C"/>
                </a:solidFill>
                <a:effectLst/>
                <a:uLnTx/>
                <a:uFillTx/>
                <a:latin typeface="Open Sans"/>
                <a:ea typeface="+mn-ea"/>
                <a:cs typeface="+mn-cs"/>
              </a:rPr>
              <a:t>funding going?</a:t>
            </a:r>
          </a:p>
        </p:txBody>
      </p:sp>
      <p:grpSp>
        <p:nvGrpSpPr>
          <p:cNvPr id="84" name="Group 83">
            <a:extLst>
              <a:ext uri="{FF2B5EF4-FFF2-40B4-BE49-F238E27FC236}">
                <a16:creationId xmlns:a16="http://schemas.microsoft.com/office/drawing/2014/main" id="{76F8DAD7-81A5-4B51-9D16-A2BBED683029}"/>
              </a:ext>
            </a:extLst>
          </p:cNvPr>
          <p:cNvGrpSpPr>
            <a:grpSpLocks noChangeAspect="1"/>
          </p:cNvGrpSpPr>
          <p:nvPr/>
        </p:nvGrpSpPr>
        <p:grpSpPr>
          <a:xfrm>
            <a:off x="454286" y="1920242"/>
            <a:ext cx="1359215" cy="1359215"/>
            <a:chOff x="5273675" y="2606675"/>
            <a:chExt cx="1644650" cy="1644650"/>
          </a:xfrm>
        </p:grpSpPr>
        <p:sp>
          <p:nvSpPr>
            <p:cNvPr id="85" name="AutoShape 3">
              <a:extLst>
                <a:ext uri="{FF2B5EF4-FFF2-40B4-BE49-F238E27FC236}">
                  <a16:creationId xmlns:a16="http://schemas.microsoft.com/office/drawing/2014/main" id="{B2282701-2E68-47DB-8DC8-8E604478457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nvGrpSpPr>
            <p:cNvPr id="86" name="Group 85">
              <a:extLst>
                <a:ext uri="{FF2B5EF4-FFF2-40B4-BE49-F238E27FC236}">
                  <a16:creationId xmlns:a16="http://schemas.microsoft.com/office/drawing/2014/main" id="{2BA90F91-B952-4B6C-BC99-A3B5B241B521}"/>
                </a:ext>
              </a:extLst>
            </p:cNvPr>
            <p:cNvGrpSpPr/>
            <p:nvPr/>
          </p:nvGrpSpPr>
          <p:grpSpPr>
            <a:xfrm>
              <a:off x="5444331" y="2963069"/>
              <a:ext cx="1303338" cy="931863"/>
              <a:chOff x="5444331" y="2963069"/>
              <a:chExt cx="1303338" cy="931863"/>
            </a:xfrm>
          </p:grpSpPr>
          <p:sp>
            <p:nvSpPr>
              <p:cNvPr id="87" name="Freeform 5">
                <a:extLst>
                  <a:ext uri="{FF2B5EF4-FFF2-40B4-BE49-F238E27FC236}">
                    <a16:creationId xmlns:a16="http://schemas.microsoft.com/office/drawing/2014/main" id="{47B6D0D8-4AC1-45CF-A8A3-95E68C612D14}"/>
                  </a:ext>
                </a:extLst>
              </p:cNvPr>
              <p:cNvSpPr>
                <a:spLocks noEditPoints="1"/>
              </p:cNvSpPr>
              <p:nvPr/>
            </p:nvSpPr>
            <p:spPr bwMode="auto">
              <a:xfrm>
                <a:off x="5444331" y="2963069"/>
                <a:ext cx="1303338" cy="931863"/>
              </a:xfrm>
              <a:custGeom>
                <a:avLst/>
                <a:gdLst>
                  <a:gd name="T0" fmla="*/ 1804 w 1826"/>
                  <a:gd name="T1" fmla="*/ 0 h 1306"/>
                  <a:gd name="T2" fmla="*/ 22 w 1826"/>
                  <a:gd name="T3" fmla="*/ 0 h 1306"/>
                  <a:gd name="T4" fmla="*/ 0 w 1826"/>
                  <a:gd name="T5" fmla="*/ 22 h 1306"/>
                  <a:gd name="T6" fmla="*/ 0 w 1826"/>
                  <a:gd name="T7" fmla="*/ 1284 h 1306"/>
                  <a:gd name="T8" fmla="*/ 22 w 1826"/>
                  <a:gd name="T9" fmla="*/ 1306 h 1306"/>
                  <a:gd name="T10" fmla="*/ 1804 w 1826"/>
                  <a:gd name="T11" fmla="*/ 1306 h 1306"/>
                  <a:gd name="T12" fmla="*/ 1826 w 1826"/>
                  <a:gd name="T13" fmla="*/ 1284 h 1306"/>
                  <a:gd name="T14" fmla="*/ 1826 w 1826"/>
                  <a:gd name="T15" fmla="*/ 22 h 1306"/>
                  <a:gd name="T16" fmla="*/ 1804 w 1826"/>
                  <a:gd name="T17" fmla="*/ 0 h 1306"/>
                  <a:gd name="T18" fmla="*/ 1782 w 1826"/>
                  <a:gd name="T19" fmla="*/ 1262 h 1306"/>
                  <a:gd name="T20" fmla="*/ 44 w 1826"/>
                  <a:gd name="T21" fmla="*/ 1262 h 1306"/>
                  <a:gd name="T22" fmla="*/ 44 w 1826"/>
                  <a:gd name="T23" fmla="*/ 44 h 1306"/>
                  <a:gd name="T24" fmla="*/ 1782 w 1826"/>
                  <a:gd name="T25" fmla="*/ 44 h 1306"/>
                  <a:gd name="T26" fmla="*/ 1782 w 1826"/>
                  <a:gd name="T27" fmla="*/ 1262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6" h="1306">
                    <a:moveTo>
                      <a:pt x="1804" y="0"/>
                    </a:moveTo>
                    <a:cubicBezTo>
                      <a:pt x="22" y="0"/>
                      <a:pt x="22" y="0"/>
                      <a:pt x="22" y="0"/>
                    </a:cubicBezTo>
                    <a:cubicBezTo>
                      <a:pt x="10" y="0"/>
                      <a:pt x="0" y="9"/>
                      <a:pt x="0" y="22"/>
                    </a:cubicBezTo>
                    <a:cubicBezTo>
                      <a:pt x="0" y="1284"/>
                      <a:pt x="0" y="1284"/>
                      <a:pt x="0" y="1284"/>
                    </a:cubicBezTo>
                    <a:cubicBezTo>
                      <a:pt x="0" y="1297"/>
                      <a:pt x="10" y="1306"/>
                      <a:pt x="22" y="1306"/>
                    </a:cubicBezTo>
                    <a:cubicBezTo>
                      <a:pt x="1804" y="1306"/>
                      <a:pt x="1804" y="1306"/>
                      <a:pt x="1804" y="1306"/>
                    </a:cubicBezTo>
                    <a:cubicBezTo>
                      <a:pt x="1816" y="1306"/>
                      <a:pt x="1826" y="1297"/>
                      <a:pt x="1826" y="1284"/>
                    </a:cubicBezTo>
                    <a:cubicBezTo>
                      <a:pt x="1826" y="22"/>
                      <a:pt x="1826" y="22"/>
                      <a:pt x="1826" y="22"/>
                    </a:cubicBezTo>
                    <a:cubicBezTo>
                      <a:pt x="1826" y="9"/>
                      <a:pt x="1816" y="0"/>
                      <a:pt x="1804" y="0"/>
                    </a:cubicBezTo>
                    <a:close/>
                    <a:moveTo>
                      <a:pt x="1782" y="1262"/>
                    </a:moveTo>
                    <a:cubicBezTo>
                      <a:pt x="44" y="1262"/>
                      <a:pt x="44" y="1262"/>
                      <a:pt x="44" y="1262"/>
                    </a:cubicBezTo>
                    <a:cubicBezTo>
                      <a:pt x="44" y="44"/>
                      <a:pt x="44" y="44"/>
                      <a:pt x="44" y="44"/>
                    </a:cubicBezTo>
                    <a:cubicBezTo>
                      <a:pt x="1782" y="44"/>
                      <a:pt x="1782" y="44"/>
                      <a:pt x="1782" y="44"/>
                    </a:cubicBezTo>
                    <a:cubicBezTo>
                      <a:pt x="1782" y="1262"/>
                      <a:pt x="1782" y="1262"/>
                      <a:pt x="1782" y="1262"/>
                    </a:cubicBezTo>
                    <a:close/>
                  </a:path>
                </a:pathLst>
              </a:custGeom>
              <a:solidFill>
                <a:srgbClr val="071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88" name="Freeform 6">
                <a:extLst>
                  <a:ext uri="{FF2B5EF4-FFF2-40B4-BE49-F238E27FC236}">
                    <a16:creationId xmlns:a16="http://schemas.microsoft.com/office/drawing/2014/main" id="{9B69E7D3-33D0-4F17-A3A5-CFA94068CC28}"/>
                  </a:ext>
                </a:extLst>
              </p:cNvPr>
              <p:cNvSpPr>
                <a:spLocks/>
              </p:cNvSpPr>
              <p:nvPr/>
            </p:nvSpPr>
            <p:spPr bwMode="auto">
              <a:xfrm>
                <a:off x="5506244" y="3026569"/>
                <a:ext cx="1177925" cy="806450"/>
              </a:xfrm>
              <a:custGeom>
                <a:avLst/>
                <a:gdLst>
                  <a:gd name="connsiteX0" fmla="*/ 80811 w 1177925"/>
                  <a:gd name="connsiteY0" fmla="*/ 701675 h 806450"/>
                  <a:gd name="connsiteX1" fmla="*/ 65087 w 1177925"/>
                  <a:gd name="connsiteY1" fmla="*/ 717550 h 806450"/>
                  <a:gd name="connsiteX2" fmla="*/ 80811 w 1177925"/>
                  <a:gd name="connsiteY2" fmla="*/ 733425 h 806450"/>
                  <a:gd name="connsiteX3" fmla="*/ 1097114 w 1177925"/>
                  <a:gd name="connsiteY3" fmla="*/ 733425 h 806450"/>
                  <a:gd name="connsiteX4" fmla="*/ 1112837 w 1177925"/>
                  <a:gd name="connsiteY4" fmla="*/ 717550 h 806450"/>
                  <a:gd name="connsiteX5" fmla="*/ 1097114 w 1177925"/>
                  <a:gd name="connsiteY5" fmla="*/ 701675 h 806450"/>
                  <a:gd name="connsiteX6" fmla="*/ 80811 w 1177925"/>
                  <a:gd name="connsiteY6" fmla="*/ 701675 h 806450"/>
                  <a:gd name="connsiteX7" fmla="*/ 80811 w 1177925"/>
                  <a:gd name="connsiteY7" fmla="*/ 619125 h 806450"/>
                  <a:gd name="connsiteX8" fmla="*/ 65087 w 1177925"/>
                  <a:gd name="connsiteY8" fmla="*/ 635000 h 806450"/>
                  <a:gd name="connsiteX9" fmla="*/ 80811 w 1177925"/>
                  <a:gd name="connsiteY9" fmla="*/ 650875 h 806450"/>
                  <a:gd name="connsiteX10" fmla="*/ 1097114 w 1177925"/>
                  <a:gd name="connsiteY10" fmla="*/ 650875 h 806450"/>
                  <a:gd name="connsiteX11" fmla="*/ 1112837 w 1177925"/>
                  <a:gd name="connsiteY11" fmla="*/ 635000 h 806450"/>
                  <a:gd name="connsiteX12" fmla="*/ 1097114 w 1177925"/>
                  <a:gd name="connsiteY12" fmla="*/ 619125 h 806450"/>
                  <a:gd name="connsiteX13" fmla="*/ 80811 w 1177925"/>
                  <a:gd name="connsiteY13" fmla="*/ 619125 h 806450"/>
                  <a:gd name="connsiteX14" fmla="*/ 80811 w 1177925"/>
                  <a:gd name="connsiteY14" fmla="*/ 536575 h 806450"/>
                  <a:gd name="connsiteX15" fmla="*/ 65087 w 1177925"/>
                  <a:gd name="connsiteY15" fmla="*/ 552450 h 806450"/>
                  <a:gd name="connsiteX16" fmla="*/ 80811 w 1177925"/>
                  <a:gd name="connsiteY16" fmla="*/ 568325 h 806450"/>
                  <a:gd name="connsiteX17" fmla="*/ 1097114 w 1177925"/>
                  <a:gd name="connsiteY17" fmla="*/ 568325 h 806450"/>
                  <a:gd name="connsiteX18" fmla="*/ 1112837 w 1177925"/>
                  <a:gd name="connsiteY18" fmla="*/ 552450 h 806450"/>
                  <a:gd name="connsiteX19" fmla="*/ 1097114 w 1177925"/>
                  <a:gd name="connsiteY19" fmla="*/ 536575 h 806450"/>
                  <a:gd name="connsiteX20" fmla="*/ 80811 w 1177925"/>
                  <a:gd name="connsiteY20" fmla="*/ 536575 h 806450"/>
                  <a:gd name="connsiteX21" fmla="*/ 93951 w 1177925"/>
                  <a:gd name="connsiteY21" fmla="*/ 304800 h 806450"/>
                  <a:gd name="connsiteX22" fmla="*/ 80962 w 1177925"/>
                  <a:gd name="connsiteY22" fmla="*/ 317598 h 806450"/>
                  <a:gd name="connsiteX23" fmla="*/ 80962 w 1177925"/>
                  <a:gd name="connsiteY23" fmla="*/ 476152 h 806450"/>
                  <a:gd name="connsiteX24" fmla="*/ 93951 w 1177925"/>
                  <a:gd name="connsiteY24" fmla="*/ 488950 h 806450"/>
                  <a:gd name="connsiteX25" fmla="*/ 163224 w 1177925"/>
                  <a:gd name="connsiteY25" fmla="*/ 488950 h 806450"/>
                  <a:gd name="connsiteX26" fmla="*/ 176212 w 1177925"/>
                  <a:gd name="connsiteY26" fmla="*/ 476152 h 806450"/>
                  <a:gd name="connsiteX27" fmla="*/ 176212 w 1177925"/>
                  <a:gd name="connsiteY27" fmla="*/ 317598 h 806450"/>
                  <a:gd name="connsiteX28" fmla="*/ 163224 w 1177925"/>
                  <a:gd name="connsiteY28" fmla="*/ 304800 h 806450"/>
                  <a:gd name="connsiteX29" fmla="*/ 93951 w 1177925"/>
                  <a:gd name="connsiteY29" fmla="*/ 304800 h 806450"/>
                  <a:gd name="connsiteX30" fmla="*/ 209839 w 1177925"/>
                  <a:gd name="connsiteY30" fmla="*/ 233363 h 806450"/>
                  <a:gd name="connsiteX31" fmla="*/ 196850 w 1177925"/>
                  <a:gd name="connsiteY31" fmla="*/ 246178 h 806450"/>
                  <a:gd name="connsiteX32" fmla="*/ 196850 w 1177925"/>
                  <a:gd name="connsiteY32" fmla="*/ 476136 h 806450"/>
                  <a:gd name="connsiteX33" fmla="*/ 209839 w 1177925"/>
                  <a:gd name="connsiteY33" fmla="*/ 488951 h 806450"/>
                  <a:gd name="connsiteX34" fmla="*/ 279112 w 1177925"/>
                  <a:gd name="connsiteY34" fmla="*/ 488951 h 806450"/>
                  <a:gd name="connsiteX35" fmla="*/ 292100 w 1177925"/>
                  <a:gd name="connsiteY35" fmla="*/ 476136 h 806450"/>
                  <a:gd name="connsiteX36" fmla="*/ 292100 w 1177925"/>
                  <a:gd name="connsiteY36" fmla="*/ 246178 h 806450"/>
                  <a:gd name="connsiteX37" fmla="*/ 279112 w 1177925"/>
                  <a:gd name="connsiteY37" fmla="*/ 233363 h 806450"/>
                  <a:gd name="connsiteX38" fmla="*/ 209839 w 1177925"/>
                  <a:gd name="connsiteY38" fmla="*/ 233363 h 806450"/>
                  <a:gd name="connsiteX39" fmla="*/ 325509 w 1177925"/>
                  <a:gd name="connsiteY39" fmla="*/ 152400 h 806450"/>
                  <a:gd name="connsiteX40" fmla="*/ 312737 w 1177925"/>
                  <a:gd name="connsiteY40" fmla="*/ 165235 h 806450"/>
                  <a:gd name="connsiteX41" fmla="*/ 312737 w 1177925"/>
                  <a:gd name="connsiteY41" fmla="*/ 476116 h 806450"/>
                  <a:gd name="connsiteX42" fmla="*/ 325509 w 1177925"/>
                  <a:gd name="connsiteY42" fmla="*/ 488950 h 806450"/>
                  <a:gd name="connsiteX43" fmla="*/ 393628 w 1177925"/>
                  <a:gd name="connsiteY43" fmla="*/ 488950 h 806450"/>
                  <a:gd name="connsiteX44" fmla="*/ 406400 w 1177925"/>
                  <a:gd name="connsiteY44" fmla="*/ 476116 h 806450"/>
                  <a:gd name="connsiteX45" fmla="*/ 406400 w 1177925"/>
                  <a:gd name="connsiteY45" fmla="*/ 165235 h 806450"/>
                  <a:gd name="connsiteX46" fmla="*/ 393628 w 1177925"/>
                  <a:gd name="connsiteY46" fmla="*/ 152400 h 806450"/>
                  <a:gd name="connsiteX47" fmla="*/ 325509 w 1177925"/>
                  <a:gd name="connsiteY47" fmla="*/ 152400 h 806450"/>
                  <a:gd name="connsiteX48" fmla="*/ 877650 w 1177925"/>
                  <a:gd name="connsiteY48" fmla="*/ 79375 h 806450"/>
                  <a:gd name="connsiteX49" fmla="*/ 882650 w 1177925"/>
                  <a:gd name="connsiteY49" fmla="*/ 80089 h 806450"/>
                  <a:gd name="connsiteX50" fmla="*/ 877650 w 1177925"/>
                  <a:gd name="connsiteY50" fmla="*/ 271463 h 806450"/>
                  <a:gd name="connsiteX51" fmla="*/ 725487 w 1177925"/>
                  <a:gd name="connsiteY51" fmla="*/ 157210 h 806450"/>
                  <a:gd name="connsiteX52" fmla="*/ 877650 w 1177925"/>
                  <a:gd name="connsiteY52" fmla="*/ 79375 h 806450"/>
                  <a:gd name="connsiteX53" fmla="*/ 876738 w 1177925"/>
                  <a:gd name="connsiteY53" fmla="*/ 47625 h 806450"/>
                  <a:gd name="connsiteX54" fmla="*/ 657225 w 1177925"/>
                  <a:gd name="connsiteY54" fmla="*/ 268288 h 806450"/>
                  <a:gd name="connsiteX55" fmla="*/ 777672 w 1177925"/>
                  <a:gd name="connsiteY55" fmla="*/ 465384 h 806450"/>
                  <a:gd name="connsiteX56" fmla="*/ 876025 w 1177925"/>
                  <a:gd name="connsiteY56" fmla="*/ 488950 h 806450"/>
                  <a:gd name="connsiteX57" fmla="*/ 876738 w 1177925"/>
                  <a:gd name="connsiteY57" fmla="*/ 488950 h 806450"/>
                  <a:gd name="connsiteX58" fmla="*/ 1096963 w 1177925"/>
                  <a:gd name="connsiteY58" fmla="*/ 268288 h 806450"/>
                  <a:gd name="connsiteX59" fmla="*/ 895981 w 1177925"/>
                  <a:gd name="connsiteY59" fmla="*/ 49053 h 806450"/>
                  <a:gd name="connsiteX60" fmla="*/ 889567 w 1177925"/>
                  <a:gd name="connsiteY60" fmla="*/ 48339 h 806450"/>
                  <a:gd name="connsiteX61" fmla="*/ 887428 w 1177925"/>
                  <a:gd name="connsiteY61" fmla="*/ 48339 h 806450"/>
                  <a:gd name="connsiteX62" fmla="*/ 882440 w 1177925"/>
                  <a:gd name="connsiteY62" fmla="*/ 47625 h 806450"/>
                  <a:gd name="connsiteX63" fmla="*/ 882440 w 1177925"/>
                  <a:gd name="connsiteY63" fmla="*/ 48339 h 806450"/>
                  <a:gd name="connsiteX64" fmla="*/ 876738 w 1177925"/>
                  <a:gd name="connsiteY64" fmla="*/ 47625 h 806450"/>
                  <a:gd name="connsiteX65" fmla="*/ 439907 w 1177925"/>
                  <a:gd name="connsiteY65" fmla="*/ 47625 h 806450"/>
                  <a:gd name="connsiteX66" fmla="*/ 427037 w 1177925"/>
                  <a:gd name="connsiteY66" fmla="*/ 60479 h 806450"/>
                  <a:gd name="connsiteX67" fmla="*/ 427037 w 1177925"/>
                  <a:gd name="connsiteY67" fmla="*/ 476096 h 806450"/>
                  <a:gd name="connsiteX68" fmla="*/ 439907 w 1177925"/>
                  <a:gd name="connsiteY68" fmla="*/ 488950 h 806450"/>
                  <a:gd name="connsiteX69" fmla="*/ 507831 w 1177925"/>
                  <a:gd name="connsiteY69" fmla="*/ 488950 h 806450"/>
                  <a:gd name="connsiteX70" fmla="*/ 520700 w 1177925"/>
                  <a:gd name="connsiteY70" fmla="*/ 476096 h 806450"/>
                  <a:gd name="connsiteX71" fmla="*/ 520700 w 1177925"/>
                  <a:gd name="connsiteY71" fmla="*/ 60479 h 806450"/>
                  <a:gd name="connsiteX72" fmla="*/ 507831 w 1177925"/>
                  <a:gd name="connsiteY72" fmla="*/ 47625 h 806450"/>
                  <a:gd name="connsiteX73" fmla="*/ 439907 w 1177925"/>
                  <a:gd name="connsiteY73" fmla="*/ 47625 h 806450"/>
                  <a:gd name="connsiteX74" fmla="*/ 0 w 1177925"/>
                  <a:gd name="connsiteY74" fmla="*/ 0 h 806450"/>
                  <a:gd name="connsiteX75" fmla="*/ 1177925 w 1177925"/>
                  <a:gd name="connsiteY75" fmla="*/ 0 h 806450"/>
                  <a:gd name="connsiteX76" fmla="*/ 1177925 w 1177925"/>
                  <a:gd name="connsiteY76" fmla="*/ 806450 h 806450"/>
                  <a:gd name="connsiteX77" fmla="*/ 0 w 1177925"/>
                  <a:gd name="connsiteY77" fmla="*/ 806450 h 806450"/>
                  <a:gd name="connsiteX78" fmla="*/ 0 w 1177925"/>
                  <a:gd name="connsiteY78" fmla="*/ 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177925" h="806450">
                    <a:moveTo>
                      <a:pt x="80811" y="701675"/>
                    </a:moveTo>
                    <a:cubicBezTo>
                      <a:pt x="72234" y="701675"/>
                      <a:pt x="65087" y="708891"/>
                      <a:pt x="65087" y="717550"/>
                    </a:cubicBezTo>
                    <a:cubicBezTo>
                      <a:pt x="65087" y="726209"/>
                      <a:pt x="72234" y="733425"/>
                      <a:pt x="80811" y="733425"/>
                    </a:cubicBezTo>
                    <a:cubicBezTo>
                      <a:pt x="80811" y="733425"/>
                      <a:pt x="80811" y="733425"/>
                      <a:pt x="1097114" y="733425"/>
                    </a:cubicBezTo>
                    <a:cubicBezTo>
                      <a:pt x="1105690" y="733425"/>
                      <a:pt x="1112837" y="726209"/>
                      <a:pt x="1112837" y="717550"/>
                    </a:cubicBezTo>
                    <a:cubicBezTo>
                      <a:pt x="1112837" y="708891"/>
                      <a:pt x="1105690" y="701675"/>
                      <a:pt x="1097114" y="701675"/>
                    </a:cubicBezTo>
                    <a:cubicBezTo>
                      <a:pt x="1097114" y="701675"/>
                      <a:pt x="1097114" y="701675"/>
                      <a:pt x="80811" y="701675"/>
                    </a:cubicBezTo>
                    <a:close/>
                    <a:moveTo>
                      <a:pt x="80811" y="619125"/>
                    </a:moveTo>
                    <a:cubicBezTo>
                      <a:pt x="72234" y="619125"/>
                      <a:pt x="65087" y="626341"/>
                      <a:pt x="65087" y="635000"/>
                    </a:cubicBezTo>
                    <a:cubicBezTo>
                      <a:pt x="65087" y="644381"/>
                      <a:pt x="72234" y="650875"/>
                      <a:pt x="80811" y="650875"/>
                    </a:cubicBezTo>
                    <a:cubicBezTo>
                      <a:pt x="80811" y="650875"/>
                      <a:pt x="80811" y="650875"/>
                      <a:pt x="1097114" y="650875"/>
                    </a:cubicBezTo>
                    <a:cubicBezTo>
                      <a:pt x="1105690" y="650875"/>
                      <a:pt x="1112837" y="644381"/>
                      <a:pt x="1112837" y="635000"/>
                    </a:cubicBezTo>
                    <a:cubicBezTo>
                      <a:pt x="1112837" y="626341"/>
                      <a:pt x="1105690" y="619125"/>
                      <a:pt x="1097114" y="619125"/>
                    </a:cubicBezTo>
                    <a:cubicBezTo>
                      <a:pt x="1097114" y="619125"/>
                      <a:pt x="1097114" y="619125"/>
                      <a:pt x="80811" y="619125"/>
                    </a:cubicBezTo>
                    <a:close/>
                    <a:moveTo>
                      <a:pt x="80811" y="536575"/>
                    </a:moveTo>
                    <a:cubicBezTo>
                      <a:pt x="72234" y="536575"/>
                      <a:pt x="65087" y="543791"/>
                      <a:pt x="65087" y="552450"/>
                    </a:cubicBezTo>
                    <a:cubicBezTo>
                      <a:pt x="65087" y="561109"/>
                      <a:pt x="72234" y="568325"/>
                      <a:pt x="80811" y="568325"/>
                    </a:cubicBezTo>
                    <a:cubicBezTo>
                      <a:pt x="80811" y="568325"/>
                      <a:pt x="80811" y="568325"/>
                      <a:pt x="1097114" y="568325"/>
                    </a:cubicBezTo>
                    <a:cubicBezTo>
                      <a:pt x="1105690" y="568325"/>
                      <a:pt x="1112837" y="561109"/>
                      <a:pt x="1112837" y="552450"/>
                    </a:cubicBezTo>
                    <a:cubicBezTo>
                      <a:pt x="1112837" y="543791"/>
                      <a:pt x="1105690" y="536575"/>
                      <a:pt x="1097114" y="536575"/>
                    </a:cubicBezTo>
                    <a:cubicBezTo>
                      <a:pt x="1097114" y="536575"/>
                      <a:pt x="1097114" y="536575"/>
                      <a:pt x="80811" y="536575"/>
                    </a:cubicBezTo>
                    <a:close/>
                    <a:moveTo>
                      <a:pt x="93951" y="304800"/>
                    </a:moveTo>
                    <a:cubicBezTo>
                      <a:pt x="86013" y="304800"/>
                      <a:pt x="80962" y="311199"/>
                      <a:pt x="80962" y="317598"/>
                    </a:cubicBezTo>
                    <a:cubicBezTo>
                      <a:pt x="80962" y="317598"/>
                      <a:pt x="80962" y="317598"/>
                      <a:pt x="80962" y="476152"/>
                    </a:cubicBezTo>
                    <a:cubicBezTo>
                      <a:pt x="80962" y="483262"/>
                      <a:pt x="86013" y="488950"/>
                      <a:pt x="93951" y="488950"/>
                    </a:cubicBezTo>
                    <a:cubicBezTo>
                      <a:pt x="93951" y="488950"/>
                      <a:pt x="93951" y="488950"/>
                      <a:pt x="163224" y="488950"/>
                    </a:cubicBezTo>
                    <a:cubicBezTo>
                      <a:pt x="169718" y="488950"/>
                      <a:pt x="176212" y="483262"/>
                      <a:pt x="176212" y="476152"/>
                    </a:cubicBezTo>
                    <a:cubicBezTo>
                      <a:pt x="176212" y="476152"/>
                      <a:pt x="176212" y="476152"/>
                      <a:pt x="176212" y="317598"/>
                    </a:cubicBezTo>
                    <a:cubicBezTo>
                      <a:pt x="176212" y="311199"/>
                      <a:pt x="169718" y="304800"/>
                      <a:pt x="163224" y="304800"/>
                    </a:cubicBezTo>
                    <a:cubicBezTo>
                      <a:pt x="163224" y="304800"/>
                      <a:pt x="163224" y="304800"/>
                      <a:pt x="93951" y="304800"/>
                    </a:cubicBezTo>
                    <a:close/>
                    <a:moveTo>
                      <a:pt x="209839" y="233363"/>
                    </a:moveTo>
                    <a:cubicBezTo>
                      <a:pt x="202623" y="233363"/>
                      <a:pt x="196850" y="239059"/>
                      <a:pt x="196850" y="246178"/>
                    </a:cubicBezTo>
                    <a:cubicBezTo>
                      <a:pt x="196850" y="476136"/>
                      <a:pt x="196850" y="476136"/>
                      <a:pt x="196850" y="476136"/>
                    </a:cubicBezTo>
                    <a:cubicBezTo>
                      <a:pt x="196850" y="483256"/>
                      <a:pt x="202623" y="488951"/>
                      <a:pt x="209839" y="488951"/>
                    </a:cubicBezTo>
                    <a:cubicBezTo>
                      <a:pt x="279112" y="488951"/>
                      <a:pt x="279112" y="488951"/>
                      <a:pt x="279112" y="488951"/>
                    </a:cubicBezTo>
                    <a:cubicBezTo>
                      <a:pt x="286328" y="488951"/>
                      <a:pt x="292100" y="483256"/>
                      <a:pt x="292100" y="476136"/>
                    </a:cubicBezTo>
                    <a:cubicBezTo>
                      <a:pt x="292100" y="246178"/>
                      <a:pt x="292100" y="246178"/>
                      <a:pt x="292100" y="246178"/>
                    </a:cubicBezTo>
                    <a:cubicBezTo>
                      <a:pt x="292100" y="239059"/>
                      <a:pt x="286328" y="233363"/>
                      <a:pt x="279112" y="233363"/>
                    </a:cubicBezTo>
                    <a:cubicBezTo>
                      <a:pt x="209839" y="233363"/>
                      <a:pt x="209839" y="233363"/>
                      <a:pt x="209839" y="233363"/>
                    </a:cubicBezTo>
                    <a:close/>
                    <a:moveTo>
                      <a:pt x="325509" y="152400"/>
                    </a:moveTo>
                    <a:cubicBezTo>
                      <a:pt x="318414" y="152400"/>
                      <a:pt x="312737" y="158104"/>
                      <a:pt x="312737" y="165235"/>
                    </a:cubicBezTo>
                    <a:cubicBezTo>
                      <a:pt x="312737" y="476116"/>
                      <a:pt x="312737" y="476116"/>
                      <a:pt x="312737" y="476116"/>
                    </a:cubicBezTo>
                    <a:cubicBezTo>
                      <a:pt x="312737" y="483246"/>
                      <a:pt x="318414" y="488950"/>
                      <a:pt x="325509" y="488950"/>
                    </a:cubicBezTo>
                    <a:cubicBezTo>
                      <a:pt x="393628" y="488950"/>
                      <a:pt x="393628" y="488950"/>
                      <a:pt x="393628" y="488950"/>
                    </a:cubicBezTo>
                    <a:cubicBezTo>
                      <a:pt x="400724" y="488950"/>
                      <a:pt x="406400" y="483246"/>
                      <a:pt x="406400" y="476116"/>
                    </a:cubicBezTo>
                    <a:cubicBezTo>
                      <a:pt x="406400" y="165235"/>
                      <a:pt x="406400" y="165235"/>
                      <a:pt x="406400" y="165235"/>
                    </a:cubicBezTo>
                    <a:cubicBezTo>
                      <a:pt x="406400" y="158104"/>
                      <a:pt x="400724" y="152400"/>
                      <a:pt x="393628" y="152400"/>
                    </a:cubicBezTo>
                    <a:cubicBezTo>
                      <a:pt x="325509" y="152400"/>
                      <a:pt x="325509" y="152400"/>
                      <a:pt x="325509" y="152400"/>
                    </a:cubicBezTo>
                    <a:close/>
                    <a:moveTo>
                      <a:pt x="877650" y="79375"/>
                    </a:moveTo>
                    <a:cubicBezTo>
                      <a:pt x="879078" y="79375"/>
                      <a:pt x="881221" y="80089"/>
                      <a:pt x="882650" y="80089"/>
                    </a:cubicBezTo>
                    <a:cubicBezTo>
                      <a:pt x="881936" y="108652"/>
                      <a:pt x="880507" y="164351"/>
                      <a:pt x="877650" y="271463"/>
                    </a:cubicBezTo>
                    <a:cubicBezTo>
                      <a:pt x="877650" y="271463"/>
                      <a:pt x="877650" y="271463"/>
                      <a:pt x="725487" y="157210"/>
                    </a:cubicBezTo>
                    <a:cubicBezTo>
                      <a:pt x="760492" y="110081"/>
                      <a:pt x="814784" y="79375"/>
                      <a:pt x="877650" y="79375"/>
                    </a:cubicBezTo>
                    <a:close/>
                    <a:moveTo>
                      <a:pt x="876738" y="47625"/>
                    </a:moveTo>
                    <a:cubicBezTo>
                      <a:pt x="755578" y="47625"/>
                      <a:pt x="657225" y="146888"/>
                      <a:pt x="657225" y="268288"/>
                    </a:cubicBezTo>
                    <a:cubicBezTo>
                      <a:pt x="657225" y="354696"/>
                      <a:pt x="706402" y="428964"/>
                      <a:pt x="777672" y="465384"/>
                    </a:cubicBezTo>
                    <a:cubicBezTo>
                      <a:pt x="807606" y="480381"/>
                      <a:pt x="841103" y="488950"/>
                      <a:pt x="876025" y="488950"/>
                    </a:cubicBezTo>
                    <a:cubicBezTo>
                      <a:pt x="876025" y="488950"/>
                      <a:pt x="876025" y="488950"/>
                      <a:pt x="876738" y="488950"/>
                    </a:cubicBezTo>
                    <a:cubicBezTo>
                      <a:pt x="997897" y="488950"/>
                      <a:pt x="1096963" y="390402"/>
                      <a:pt x="1096963" y="268288"/>
                    </a:cubicBezTo>
                    <a:cubicBezTo>
                      <a:pt x="1096963" y="153315"/>
                      <a:pt x="1008588" y="58337"/>
                      <a:pt x="895981" y="49053"/>
                    </a:cubicBezTo>
                    <a:cubicBezTo>
                      <a:pt x="893843" y="48339"/>
                      <a:pt x="891705" y="48339"/>
                      <a:pt x="889567" y="48339"/>
                    </a:cubicBezTo>
                    <a:cubicBezTo>
                      <a:pt x="888854" y="48339"/>
                      <a:pt x="888141" y="48339"/>
                      <a:pt x="887428" y="48339"/>
                    </a:cubicBezTo>
                    <a:cubicBezTo>
                      <a:pt x="886003" y="48339"/>
                      <a:pt x="883865" y="47625"/>
                      <a:pt x="882440" y="47625"/>
                    </a:cubicBezTo>
                    <a:cubicBezTo>
                      <a:pt x="882440" y="47625"/>
                      <a:pt x="882440" y="47625"/>
                      <a:pt x="882440" y="48339"/>
                    </a:cubicBezTo>
                    <a:cubicBezTo>
                      <a:pt x="880301" y="48339"/>
                      <a:pt x="878876" y="47625"/>
                      <a:pt x="876738" y="47625"/>
                    </a:cubicBezTo>
                    <a:close/>
                    <a:moveTo>
                      <a:pt x="439907" y="47625"/>
                    </a:moveTo>
                    <a:cubicBezTo>
                      <a:pt x="432757" y="47625"/>
                      <a:pt x="427037" y="53338"/>
                      <a:pt x="427037" y="60479"/>
                    </a:cubicBezTo>
                    <a:cubicBezTo>
                      <a:pt x="427037" y="476096"/>
                      <a:pt x="427037" y="476096"/>
                      <a:pt x="427037" y="476096"/>
                    </a:cubicBezTo>
                    <a:cubicBezTo>
                      <a:pt x="427037" y="483237"/>
                      <a:pt x="432757" y="488950"/>
                      <a:pt x="439907" y="488950"/>
                    </a:cubicBezTo>
                    <a:cubicBezTo>
                      <a:pt x="507831" y="488950"/>
                      <a:pt x="507831" y="488950"/>
                      <a:pt x="507831" y="488950"/>
                    </a:cubicBezTo>
                    <a:cubicBezTo>
                      <a:pt x="515695" y="488950"/>
                      <a:pt x="520700" y="483237"/>
                      <a:pt x="520700" y="476096"/>
                    </a:cubicBezTo>
                    <a:cubicBezTo>
                      <a:pt x="520700" y="60479"/>
                      <a:pt x="520700" y="60479"/>
                      <a:pt x="520700" y="60479"/>
                    </a:cubicBezTo>
                    <a:cubicBezTo>
                      <a:pt x="520700" y="53338"/>
                      <a:pt x="515695" y="47625"/>
                      <a:pt x="507831" y="47625"/>
                    </a:cubicBezTo>
                    <a:cubicBezTo>
                      <a:pt x="439907" y="47625"/>
                      <a:pt x="439907" y="47625"/>
                      <a:pt x="439907" y="47625"/>
                    </a:cubicBezTo>
                    <a:close/>
                    <a:moveTo>
                      <a:pt x="0" y="0"/>
                    </a:moveTo>
                    <a:cubicBezTo>
                      <a:pt x="0" y="0"/>
                      <a:pt x="0" y="0"/>
                      <a:pt x="1177925" y="0"/>
                    </a:cubicBezTo>
                    <a:cubicBezTo>
                      <a:pt x="1177925" y="0"/>
                      <a:pt x="1177925" y="0"/>
                      <a:pt x="1177925" y="806450"/>
                    </a:cubicBezTo>
                    <a:cubicBezTo>
                      <a:pt x="1177925" y="806450"/>
                      <a:pt x="1177925" y="806450"/>
                      <a:pt x="0" y="806450"/>
                    </a:cubicBezTo>
                    <a:cubicBezTo>
                      <a:pt x="0" y="806450"/>
                      <a:pt x="0" y="806450"/>
                      <a:pt x="0" y="0"/>
                    </a:cubicBezTo>
                    <a:close/>
                  </a:path>
                </a:pathLst>
              </a:custGeom>
              <a:solidFill>
                <a:srgbClr val="122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graphicFrame>
        <p:nvGraphicFramePr>
          <p:cNvPr id="42" name="Chart 41">
            <a:extLst>
              <a:ext uri="{FF2B5EF4-FFF2-40B4-BE49-F238E27FC236}">
                <a16:creationId xmlns:a16="http://schemas.microsoft.com/office/drawing/2014/main" id="{1A6BF40A-934B-4A06-85D3-5DCBF9B5A9DF}"/>
              </a:ext>
            </a:extLst>
          </p:cNvPr>
          <p:cNvGraphicFramePr/>
          <p:nvPr>
            <p:custDataLst>
              <p:tags r:id="rId10"/>
            </p:custDataLst>
          </p:nvPr>
        </p:nvGraphicFramePr>
        <p:xfrm>
          <a:off x="9342438" y="3868738"/>
          <a:ext cx="1738312" cy="1738312"/>
        </p:xfrm>
        <a:graphic>
          <a:graphicData uri="http://schemas.openxmlformats.org/drawingml/2006/chart">
            <c:chart xmlns:c="http://schemas.openxmlformats.org/drawingml/2006/chart" xmlns:r="http://schemas.openxmlformats.org/officeDocument/2006/relationships" r:id="rId22"/>
          </a:graphicData>
        </a:graphic>
      </p:graphicFrame>
      <p:sp>
        <p:nvSpPr>
          <p:cNvPr id="110" name="Text Placeholder 3">
            <a:extLst>
              <a:ext uri="{FF2B5EF4-FFF2-40B4-BE49-F238E27FC236}">
                <a16:creationId xmlns:a16="http://schemas.microsoft.com/office/drawing/2014/main" id="{78D7C1EA-5976-47FE-A754-ED5BEA4B4D79}"/>
              </a:ext>
            </a:extLst>
          </p:cNvPr>
          <p:cNvSpPr>
            <a:spLocks noGrp="1"/>
          </p:cNvSpPr>
          <p:nvPr>
            <p:custDataLst>
              <p:tags r:id="rId11"/>
            </p:custDataLst>
          </p:nvPr>
        </p:nvSpPr>
        <p:spPr bwMode="gray">
          <a:xfrm>
            <a:off x="10487025" y="4802188"/>
            <a:ext cx="449263" cy="268288"/>
          </a:xfrm>
          <a:prstGeom prst="rect">
            <a:avLst/>
          </a:prstGeom>
          <a:solidFill>
            <a:srgbClr val="01B096"/>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fld id="{267E76CF-76AD-42D4-85F3-159E086DC64F}" type="datetime'''''''''6''''''''''''''''''''2''''''''''''%'''''">
              <a:rPr kumimoji="0" lang="en-US" altLang="en-US" sz="1600" b="0" i="0" u="none" strike="noStrike" kern="1200" cap="none" spc="0" normalizeH="0" baseline="0" noProof="0" smtClean="0">
                <a:ln>
                  <a:noFill/>
                </a:ln>
                <a:solidFill>
                  <a:srgbClr val="FFFFFF"/>
                </a:solidFill>
                <a:effectLst/>
                <a:uLnTx/>
                <a:uFillTx/>
                <a:latin typeface="Open Sans"/>
                <a:ea typeface="+mn-ea"/>
                <a:cs typeface="+mn-cs"/>
                <a:sym typeface="+mn-lt"/>
              </a:rPr>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t>62%</a:t>
            </a:fld>
            <a:endParaRPr kumimoji="0" lang="en-US" sz="1600" b="0" i="0" u="none" strike="noStrike" kern="1200" cap="none" spc="0" normalizeH="0" baseline="0" noProof="0" dirty="0">
              <a:ln>
                <a:noFill/>
              </a:ln>
              <a:solidFill>
                <a:srgbClr val="FFFFFF"/>
              </a:solidFill>
              <a:effectLst/>
              <a:uLnTx/>
              <a:uFillTx/>
              <a:latin typeface="Open Sans"/>
              <a:ea typeface="+mn-ea"/>
              <a:cs typeface="+mn-cs"/>
              <a:sym typeface="+mn-lt"/>
            </a:endParaRPr>
          </a:p>
        </p:txBody>
      </p:sp>
      <p:sp>
        <p:nvSpPr>
          <p:cNvPr id="89" name="Text Placeholder 3">
            <a:extLst>
              <a:ext uri="{FF2B5EF4-FFF2-40B4-BE49-F238E27FC236}">
                <a16:creationId xmlns:a16="http://schemas.microsoft.com/office/drawing/2014/main" id="{E0812179-279E-44F4-92F9-F929049104BC}"/>
              </a:ext>
            </a:extLst>
          </p:cNvPr>
          <p:cNvSpPr>
            <a:spLocks noGrp="1"/>
          </p:cNvSpPr>
          <p:nvPr>
            <p:custDataLst>
              <p:tags r:id="rId12"/>
            </p:custDataLst>
          </p:nvPr>
        </p:nvSpPr>
        <p:spPr bwMode="gray">
          <a:xfrm>
            <a:off x="11012488" y="4965700"/>
            <a:ext cx="46355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fld id="{4F92CB53-B35A-429D-8EE0-717C0EBF8A0E}" type="datetime'''''''''''''''''''''''''2''0''''2''''''''''''1'''''''''''">
              <a:rPr kumimoji="0" lang="en-US" altLang="en-US" sz="1600" b="0" i="0" u="none" strike="noStrike" kern="1200" cap="none" spc="0" normalizeH="0" baseline="0" noProof="0" smtClean="0">
                <a:ln>
                  <a:noFill/>
                </a:ln>
                <a:solidFill>
                  <a:srgbClr val="12284C"/>
                </a:solidFill>
                <a:effectLst/>
                <a:uLnTx/>
                <a:uFillTx/>
                <a:latin typeface="Open Sans"/>
                <a:ea typeface="+mn-ea"/>
                <a:cs typeface="+mn-cs"/>
                <a:sym typeface="Trebuchet MS" panose="020B0603020202020204" pitchFamily="34" charset="0"/>
              </a:rPr>
              <a:pPr marL="0" marR="0" lvl="0" indent="0" algn="l"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t>2021</a:t>
            </a:fld>
            <a:endParaRPr kumimoji="0" lang="en-US" sz="1600" b="0" i="0" u="none" strike="noStrike" kern="1200" cap="none" spc="0" normalizeH="0" baseline="0" noProof="0" dirty="0">
              <a:ln>
                <a:noFill/>
              </a:ln>
              <a:solidFill>
                <a:srgbClr val="12284C"/>
              </a:solidFill>
              <a:effectLst/>
              <a:uLnTx/>
              <a:uFillTx/>
              <a:latin typeface="Open Sans"/>
              <a:ea typeface="+mn-ea"/>
              <a:cs typeface="+mn-cs"/>
              <a:sym typeface="+mn-lt"/>
            </a:endParaRPr>
          </a:p>
        </p:txBody>
      </p:sp>
      <p:sp>
        <p:nvSpPr>
          <p:cNvPr id="108" name="Text Placeholder 3">
            <a:extLst>
              <a:ext uri="{FF2B5EF4-FFF2-40B4-BE49-F238E27FC236}">
                <a16:creationId xmlns:a16="http://schemas.microsoft.com/office/drawing/2014/main" id="{B25DA15D-557E-4112-9F35-DE18E3C359E7}"/>
              </a:ext>
            </a:extLst>
          </p:cNvPr>
          <p:cNvSpPr>
            <a:spLocks noGrp="1"/>
          </p:cNvSpPr>
          <p:nvPr>
            <p:custDataLst>
              <p:tags r:id="rId13"/>
            </p:custDataLst>
          </p:nvPr>
        </p:nvSpPr>
        <p:spPr bwMode="gray">
          <a:xfrm>
            <a:off x="9794875" y="4068763"/>
            <a:ext cx="449263" cy="268288"/>
          </a:xfrm>
          <a:prstGeom prst="rect">
            <a:avLst/>
          </a:prstGeom>
          <a:solidFill>
            <a:srgbClr val="12284C"/>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fld id="{2F884DB5-4F84-4CF8-9DFA-B6BA6CDF401A}" type="datetime'''''''''''''''''''''''''1''''''''''1''''%'''">
              <a:rPr kumimoji="0" lang="en-US" altLang="en-US" sz="1600" b="0" i="0" u="none" strike="noStrike" kern="1200" cap="none" spc="0" normalizeH="0" baseline="0" noProof="0" smtClean="0">
                <a:ln>
                  <a:noFill/>
                </a:ln>
                <a:solidFill>
                  <a:srgbClr val="FFFFFF"/>
                </a:solidFill>
                <a:effectLst/>
                <a:uLnTx/>
                <a:uFillTx/>
                <a:latin typeface="Open San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t>11%</a:t>
            </a:fld>
            <a:endParaRPr kumimoji="0" lang="en-US" sz="1600" b="0" i="0" u="none" strike="noStrike" kern="1200" cap="none" spc="0" normalizeH="0" baseline="0" noProof="0" dirty="0">
              <a:ln>
                <a:noFill/>
              </a:ln>
              <a:solidFill>
                <a:srgbClr val="FFFFFF"/>
              </a:solidFill>
              <a:effectLst/>
              <a:uLnTx/>
              <a:uFillTx/>
              <a:latin typeface="Open Sans"/>
              <a:ea typeface="+mn-ea"/>
              <a:cs typeface="+mn-cs"/>
              <a:sym typeface="+mn-lt"/>
            </a:endParaRPr>
          </a:p>
        </p:txBody>
      </p:sp>
      <p:sp>
        <p:nvSpPr>
          <p:cNvPr id="90" name="Text Placeholder 3">
            <a:extLst>
              <a:ext uri="{FF2B5EF4-FFF2-40B4-BE49-F238E27FC236}">
                <a16:creationId xmlns:a16="http://schemas.microsoft.com/office/drawing/2014/main" id="{28A210A1-3DF5-4D8F-B63B-07545D137937}"/>
              </a:ext>
            </a:extLst>
          </p:cNvPr>
          <p:cNvSpPr>
            <a:spLocks noGrp="1"/>
          </p:cNvSpPr>
          <p:nvPr>
            <p:custDataLst>
              <p:tags r:id="rId14"/>
            </p:custDataLst>
          </p:nvPr>
        </p:nvSpPr>
        <p:spPr bwMode="gray">
          <a:xfrm>
            <a:off x="8909050" y="4570413"/>
            <a:ext cx="46355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fld id="{74BEB321-CF7C-40AF-BCF9-841E239F3E5F}" type="datetime'2''''''0''''''''''''''''''''''''''''22'''''">
              <a:rPr kumimoji="0" lang="en-US" altLang="en-US" sz="1600" b="0" i="0" u="none" strike="noStrike" kern="1200" cap="none" spc="0" normalizeH="0" baseline="0" noProof="0" smtClean="0">
                <a:ln>
                  <a:noFill/>
                </a:ln>
                <a:solidFill>
                  <a:srgbClr val="12284C"/>
                </a:solidFill>
                <a:effectLst/>
                <a:uLnTx/>
                <a:uFillTx/>
                <a:latin typeface="Open San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t>2022</a:t>
            </a:fld>
            <a:endParaRPr kumimoji="0" lang="en-US" sz="1600" b="0" i="0" u="none" strike="noStrike" kern="1200" cap="none" spc="0" normalizeH="0" baseline="0" noProof="0" dirty="0">
              <a:ln>
                <a:noFill/>
              </a:ln>
              <a:solidFill>
                <a:srgbClr val="12284C"/>
              </a:solidFill>
              <a:effectLst/>
              <a:uLnTx/>
              <a:uFillTx/>
              <a:latin typeface="Open Sans"/>
              <a:ea typeface="+mn-ea"/>
              <a:cs typeface="+mn-cs"/>
              <a:sym typeface="+mn-lt"/>
            </a:endParaRPr>
          </a:p>
        </p:txBody>
      </p:sp>
      <p:sp>
        <p:nvSpPr>
          <p:cNvPr id="111" name="Text Placeholder 3">
            <a:extLst>
              <a:ext uri="{FF2B5EF4-FFF2-40B4-BE49-F238E27FC236}">
                <a16:creationId xmlns:a16="http://schemas.microsoft.com/office/drawing/2014/main" id="{8FF7D859-54DD-4856-AA52-319C1CAAB849}"/>
              </a:ext>
            </a:extLst>
          </p:cNvPr>
          <p:cNvSpPr>
            <a:spLocks noGrp="1"/>
          </p:cNvSpPr>
          <p:nvPr>
            <p:custDataLst>
              <p:tags r:id="rId15"/>
            </p:custDataLst>
          </p:nvPr>
        </p:nvSpPr>
        <p:spPr bwMode="gray">
          <a:xfrm>
            <a:off x="9424988" y="4586288"/>
            <a:ext cx="449263" cy="268288"/>
          </a:xfrm>
          <a:prstGeom prst="rect">
            <a:avLst/>
          </a:prstGeom>
          <a:solidFill>
            <a:srgbClr val="F9A11B"/>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fld id="{5AD70189-A9E3-42FB-9232-0F6D6C88341D}" type="datetime'''2''''''''7''''''''''''''''''''''''''''''''%'''''''">
              <a:rPr kumimoji="0" lang="en-US" altLang="en-US" sz="1600" b="0" i="0" u="none" strike="noStrike" kern="1200" cap="none" spc="0" normalizeH="0" baseline="0" noProof="0" smtClean="0">
                <a:ln>
                  <a:noFill/>
                </a:ln>
                <a:solidFill>
                  <a:srgbClr val="12284C"/>
                </a:solidFill>
                <a:effectLst/>
                <a:uLnTx/>
                <a:uFillTx/>
                <a:latin typeface="Open Sans"/>
                <a:ea typeface="+mn-ea"/>
                <a:cs typeface="+mn-cs"/>
                <a:sym typeface="+mn-lt"/>
              </a:rPr>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t>27%</a:t>
            </a:fld>
            <a:endParaRPr kumimoji="0" lang="en-US" sz="1600" b="0" i="0" u="none" strike="noStrike" kern="1200" cap="none" spc="0" normalizeH="0" baseline="0" noProof="0" dirty="0">
              <a:ln>
                <a:noFill/>
              </a:ln>
              <a:solidFill>
                <a:srgbClr val="12284C"/>
              </a:solidFill>
              <a:effectLst/>
              <a:uLnTx/>
              <a:uFillTx/>
              <a:latin typeface="Open Sans"/>
              <a:ea typeface="+mn-ea"/>
              <a:cs typeface="+mn-cs"/>
              <a:sym typeface="+mn-lt"/>
            </a:endParaRPr>
          </a:p>
        </p:txBody>
      </p:sp>
      <p:sp>
        <p:nvSpPr>
          <p:cNvPr id="91" name="Text Placeholder 3">
            <a:extLst>
              <a:ext uri="{FF2B5EF4-FFF2-40B4-BE49-F238E27FC236}">
                <a16:creationId xmlns:a16="http://schemas.microsoft.com/office/drawing/2014/main" id="{15162D8E-C43B-4E83-8E39-2233E1EFC46C}"/>
              </a:ext>
            </a:extLst>
          </p:cNvPr>
          <p:cNvSpPr>
            <a:spLocks noGrp="1"/>
          </p:cNvSpPr>
          <p:nvPr>
            <p:custDataLst>
              <p:tags r:id="rId16"/>
            </p:custDataLst>
          </p:nvPr>
        </p:nvSpPr>
        <p:spPr bwMode="gray">
          <a:xfrm>
            <a:off x="9550400" y="3679825"/>
            <a:ext cx="46355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fld id="{E5CB1B85-19BA-4BF1-99F0-C3A5A05D6A96}" type="datetime'''''''''''''2''''''0''''2''''''''3'''''''''''''">
              <a:rPr kumimoji="0" lang="en-US" altLang="en-US" sz="1600" b="0" i="0" u="none" strike="noStrike" kern="1200" cap="none" spc="0" normalizeH="0" baseline="0" noProof="0" smtClean="0">
                <a:ln>
                  <a:noFill/>
                </a:ln>
                <a:solidFill>
                  <a:srgbClr val="12284C"/>
                </a:solidFill>
                <a:effectLst/>
                <a:uLnTx/>
                <a:uFillTx/>
                <a:latin typeface="Open Sans"/>
                <a:ea typeface="+mn-ea"/>
                <a:cs typeface="+mn-cs"/>
                <a:sym typeface="Trebuchet MS" panose="020B0603020202020204" pitchFamily="34" charset="0"/>
              </a:rPr>
              <a:pPr marL="0" marR="0" lvl="0" indent="0" algn="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t>2023</a:t>
            </a:fld>
            <a:endParaRPr kumimoji="0" lang="en-US" sz="1600" b="0" i="0" u="none" strike="noStrike" kern="1200" cap="none" spc="0" normalizeH="0" baseline="0" noProof="0" dirty="0">
              <a:ln>
                <a:noFill/>
              </a:ln>
              <a:solidFill>
                <a:srgbClr val="12284C"/>
              </a:solidFill>
              <a:effectLst/>
              <a:uLnTx/>
              <a:uFillTx/>
              <a:latin typeface="Open Sans"/>
              <a:ea typeface="+mn-ea"/>
              <a:cs typeface="+mn-cs"/>
              <a:sym typeface="+mn-lt"/>
            </a:endParaRPr>
          </a:p>
        </p:txBody>
      </p:sp>
      <p:sp>
        <p:nvSpPr>
          <p:cNvPr id="107" name="TextBox 106">
            <a:extLst>
              <a:ext uri="{FF2B5EF4-FFF2-40B4-BE49-F238E27FC236}">
                <a16:creationId xmlns:a16="http://schemas.microsoft.com/office/drawing/2014/main" id="{299BC740-D7E9-4FEA-98B8-085548D283BB}"/>
              </a:ext>
            </a:extLst>
          </p:cNvPr>
          <p:cNvSpPr txBox="1"/>
          <p:nvPr/>
        </p:nvSpPr>
        <p:spPr>
          <a:xfrm>
            <a:off x="9010650" y="2960172"/>
            <a:ext cx="2401888"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mn-ea"/>
                <a:cs typeface="+mn-cs"/>
              </a:rPr>
              <a:t>Requests over time</a:t>
            </a:r>
          </a:p>
        </p:txBody>
      </p:sp>
    </p:spTree>
    <p:extLst>
      <p:ext uri="{BB962C8B-B14F-4D97-AF65-F5344CB8AC3E}">
        <p14:creationId xmlns:p14="http://schemas.microsoft.com/office/powerpoint/2010/main" val="1287633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B0BA80-AB8D-430B-9E3A-F2C2A5AA8C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8275"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3CB0BA80-AB8D-430B-9E3A-F2C2A5AA8C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3760BD-CB03-4687-BDF3-E9C13F2A4423}"/>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2" name="Title 1">
            <a:extLst>
              <a:ext uri="{FF2B5EF4-FFF2-40B4-BE49-F238E27FC236}">
                <a16:creationId xmlns:a16="http://schemas.microsoft.com/office/drawing/2014/main" id="{A6283C5D-06E3-4200-B782-97A854A0833B}"/>
              </a:ext>
            </a:extLst>
          </p:cNvPr>
          <p:cNvSpPr>
            <a:spLocks noGrp="1"/>
          </p:cNvSpPr>
          <p:nvPr>
            <p:ph type="title"/>
          </p:nvPr>
        </p:nvSpPr>
        <p:spPr>
          <a:xfrm>
            <a:off x="630000" y="407902"/>
            <a:ext cx="10933200" cy="941796"/>
          </a:xfrm>
        </p:spPr>
        <p:txBody>
          <a:bodyPr/>
          <a:lstStyle/>
          <a:p>
            <a:r>
              <a:rPr lang="en-US" dirty="0"/>
              <a:t>EANS applications reviewed by KSDE; Task Force will recommend allocation of resources to schools</a:t>
            </a:r>
          </a:p>
        </p:txBody>
      </p:sp>
      <p:sp>
        <p:nvSpPr>
          <p:cNvPr id="6" name="Rectangle: Rounded Corners 5">
            <a:extLst>
              <a:ext uri="{FF2B5EF4-FFF2-40B4-BE49-F238E27FC236}">
                <a16:creationId xmlns:a16="http://schemas.microsoft.com/office/drawing/2014/main" id="{22063EDB-3976-4502-A4CB-15556CC6795A}"/>
              </a:ext>
            </a:extLst>
          </p:cNvPr>
          <p:cNvSpPr/>
          <p:nvPr/>
        </p:nvSpPr>
        <p:spPr>
          <a:xfrm>
            <a:off x="351495" y="2945242"/>
            <a:ext cx="1219355" cy="2428907"/>
          </a:xfrm>
          <a:prstGeom prst="roundRect">
            <a:avLst/>
          </a:prstGeom>
          <a:solidFill>
            <a:srgbClr val="F2F2F2"/>
          </a:solidFill>
          <a:ln w="9525" cap="rnd" cmpd="sng" algn="ctr">
            <a:solidFill>
              <a:srgbClr val="05193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EANS application submitted to KSDE</a:t>
            </a:r>
          </a:p>
        </p:txBody>
      </p:sp>
      <p:sp>
        <p:nvSpPr>
          <p:cNvPr id="8" name="Oval 7">
            <a:extLst>
              <a:ext uri="{FF2B5EF4-FFF2-40B4-BE49-F238E27FC236}">
                <a16:creationId xmlns:a16="http://schemas.microsoft.com/office/drawing/2014/main" id="{44F0EBE4-68CC-4BC4-BBFA-69F3FCEA7105}"/>
              </a:ext>
            </a:extLst>
          </p:cNvPr>
          <p:cNvSpPr/>
          <p:nvPr/>
        </p:nvSpPr>
        <p:spPr>
          <a:xfrm>
            <a:off x="723004" y="2680823"/>
            <a:ext cx="481278" cy="481278"/>
          </a:xfrm>
          <a:prstGeom prst="ellipse">
            <a:avLst/>
          </a:prstGeom>
          <a:solidFill>
            <a:srgbClr val="FFFFFF"/>
          </a:solidFill>
          <a:ln w="19050" cap="rnd" cmpd="sng" algn="ctr">
            <a:solidFill>
              <a:srgbClr val="05193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7B3746E2-9C29-4C67-A8D4-40DAB640199C}"/>
              </a:ext>
            </a:extLst>
          </p:cNvPr>
          <p:cNvGrpSpPr>
            <a:grpSpLocks noChangeAspect="1"/>
          </p:cNvGrpSpPr>
          <p:nvPr/>
        </p:nvGrpSpPr>
        <p:grpSpPr>
          <a:xfrm>
            <a:off x="747099" y="2704918"/>
            <a:ext cx="433087" cy="433087"/>
            <a:chOff x="5273675" y="2606675"/>
            <a:chExt cx="1644650" cy="1644650"/>
          </a:xfrm>
        </p:grpSpPr>
        <p:sp>
          <p:nvSpPr>
            <p:cNvPr id="10" name="AutoShape 13">
              <a:extLst>
                <a:ext uri="{FF2B5EF4-FFF2-40B4-BE49-F238E27FC236}">
                  <a16:creationId xmlns:a16="http://schemas.microsoft.com/office/drawing/2014/main" id="{1BC206F9-6B1F-4171-99B6-DB97322692B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nvGrpSpPr>
            <p:cNvPr id="11" name="Group 10">
              <a:extLst>
                <a:ext uri="{FF2B5EF4-FFF2-40B4-BE49-F238E27FC236}">
                  <a16:creationId xmlns:a16="http://schemas.microsoft.com/office/drawing/2014/main" id="{81FBE393-C6E9-40BB-A7FE-9209A544ECD8}"/>
                </a:ext>
              </a:extLst>
            </p:cNvPr>
            <p:cNvGrpSpPr/>
            <p:nvPr/>
          </p:nvGrpSpPr>
          <p:grpSpPr>
            <a:xfrm>
              <a:off x="5648325" y="2874963"/>
              <a:ext cx="895350" cy="1101725"/>
              <a:chOff x="5648325" y="2874963"/>
              <a:chExt cx="895350" cy="1101725"/>
            </a:xfrm>
          </p:grpSpPr>
          <p:sp>
            <p:nvSpPr>
              <p:cNvPr id="12" name="Freeform 15">
                <a:extLst>
                  <a:ext uri="{FF2B5EF4-FFF2-40B4-BE49-F238E27FC236}">
                    <a16:creationId xmlns:a16="http://schemas.microsoft.com/office/drawing/2014/main" id="{67EC33D5-19D2-4CDD-ABC8-4C9314398417}"/>
                  </a:ext>
                </a:extLst>
              </p:cNvPr>
              <p:cNvSpPr>
                <a:spLocks/>
              </p:cNvSpPr>
              <p:nvPr/>
            </p:nvSpPr>
            <p:spPr bwMode="auto">
              <a:xfrm>
                <a:off x="5894388" y="2874963"/>
                <a:ext cx="403225" cy="611188"/>
              </a:xfrm>
              <a:custGeom>
                <a:avLst/>
                <a:gdLst>
                  <a:gd name="T0" fmla="*/ 314 w 566"/>
                  <a:gd name="T1" fmla="*/ 13 h 857"/>
                  <a:gd name="T2" fmla="*/ 307 w 566"/>
                  <a:gd name="T3" fmla="*/ 7 h 857"/>
                  <a:gd name="T4" fmla="*/ 306 w 566"/>
                  <a:gd name="T5" fmla="*/ 7 h 857"/>
                  <a:gd name="T6" fmla="*/ 300 w 566"/>
                  <a:gd name="T7" fmla="*/ 3 h 857"/>
                  <a:gd name="T8" fmla="*/ 298 w 566"/>
                  <a:gd name="T9" fmla="*/ 3 h 857"/>
                  <a:gd name="T10" fmla="*/ 291 w 566"/>
                  <a:gd name="T11" fmla="*/ 1 h 857"/>
                  <a:gd name="T12" fmla="*/ 290 w 566"/>
                  <a:gd name="T13" fmla="*/ 1 h 857"/>
                  <a:gd name="T14" fmla="*/ 276 w 566"/>
                  <a:gd name="T15" fmla="*/ 1 h 857"/>
                  <a:gd name="T16" fmla="*/ 275 w 566"/>
                  <a:gd name="T17" fmla="*/ 1 h 857"/>
                  <a:gd name="T18" fmla="*/ 268 w 566"/>
                  <a:gd name="T19" fmla="*/ 3 h 857"/>
                  <a:gd name="T20" fmla="*/ 266 w 566"/>
                  <a:gd name="T21" fmla="*/ 3 h 857"/>
                  <a:gd name="T22" fmla="*/ 260 w 566"/>
                  <a:gd name="T23" fmla="*/ 7 h 857"/>
                  <a:gd name="T24" fmla="*/ 259 w 566"/>
                  <a:gd name="T25" fmla="*/ 7 h 857"/>
                  <a:gd name="T26" fmla="*/ 252 w 566"/>
                  <a:gd name="T27" fmla="*/ 13 h 857"/>
                  <a:gd name="T28" fmla="*/ 13 w 566"/>
                  <a:gd name="T29" fmla="*/ 253 h 857"/>
                  <a:gd name="T30" fmla="*/ 0 w 566"/>
                  <a:gd name="T31" fmla="*/ 283 h 857"/>
                  <a:gd name="T32" fmla="*/ 13 w 566"/>
                  <a:gd name="T33" fmla="*/ 314 h 857"/>
                  <a:gd name="T34" fmla="*/ 43 w 566"/>
                  <a:gd name="T35" fmla="*/ 326 h 857"/>
                  <a:gd name="T36" fmla="*/ 74 w 566"/>
                  <a:gd name="T37" fmla="*/ 314 h 857"/>
                  <a:gd name="T38" fmla="*/ 240 w 566"/>
                  <a:gd name="T39" fmla="*/ 147 h 857"/>
                  <a:gd name="T40" fmla="*/ 240 w 566"/>
                  <a:gd name="T41" fmla="*/ 489 h 857"/>
                  <a:gd name="T42" fmla="*/ 240 w 566"/>
                  <a:gd name="T43" fmla="*/ 555 h 857"/>
                  <a:gd name="T44" fmla="*/ 240 w 566"/>
                  <a:gd name="T45" fmla="*/ 814 h 857"/>
                  <a:gd name="T46" fmla="*/ 283 w 566"/>
                  <a:gd name="T47" fmla="*/ 857 h 857"/>
                  <a:gd name="T48" fmla="*/ 326 w 566"/>
                  <a:gd name="T49" fmla="*/ 814 h 857"/>
                  <a:gd name="T50" fmla="*/ 326 w 566"/>
                  <a:gd name="T51" fmla="*/ 555 h 857"/>
                  <a:gd name="T52" fmla="*/ 326 w 566"/>
                  <a:gd name="T53" fmla="*/ 489 h 857"/>
                  <a:gd name="T54" fmla="*/ 326 w 566"/>
                  <a:gd name="T55" fmla="*/ 147 h 857"/>
                  <a:gd name="T56" fmla="*/ 492 w 566"/>
                  <a:gd name="T57" fmla="*/ 314 h 857"/>
                  <a:gd name="T58" fmla="*/ 523 w 566"/>
                  <a:gd name="T59" fmla="*/ 326 h 857"/>
                  <a:gd name="T60" fmla="*/ 553 w 566"/>
                  <a:gd name="T61" fmla="*/ 314 h 857"/>
                  <a:gd name="T62" fmla="*/ 566 w 566"/>
                  <a:gd name="T63" fmla="*/ 283 h 857"/>
                  <a:gd name="T64" fmla="*/ 553 w 566"/>
                  <a:gd name="T65" fmla="*/ 253 h 857"/>
                  <a:gd name="T66" fmla="*/ 314 w 566"/>
                  <a:gd name="T67" fmla="*/ 13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6" h="857">
                    <a:moveTo>
                      <a:pt x="314" y="13"/>
                    </a:moveTo>
                    <a:cubicBezTo>
                      <a:pt x="312" y="11"/>
                      <a:pt x="310" y="9"/>
                      <a:pt x="307" y="7"/>
                    </a:cubicBezTo>
                    <a:cubicBezTo>
                      <a:pt x="306" y="7"/>
                      <a:pt x="306" y="7"/>
                      <a:pt x="306" y="7"/>
                    </a:cubicBezTo>
                    <a:cubicBezTo>
                      <a:pt x="304" y="5"/>
                      <a:pt x="302" y="4"/>
                      <a:pt x="300" y="3"/>
                    </a:cubicBezTo>
                    <a:cubicBezTo>
                      <a:pt x="298" y="3"/>
                      <a:pt x="298" y="3"/>
                      <a:pt x="298" y="3"/>
                    </a:cubicBezTo>
                    <a:cubicBezTo>
                      <a:pt x="296" y="2"/>
                      <a:pt x="294" y="1"/>
                      <a:pt x="291" y="1"/>
                    </a:cubicBezTo>
                    <a:cubicBezTo>
                      <a:pt x="290" y="1"/>
                      <a:pt x="290" y="1"/>
                      <a:pt x="290" y="1"/>
                    </a:cubicBezTo>
                    <a:cubicBezTo>
                      <a:pt x="286" y="0"/>
                      <a:pt x="280" y="0"/>
                      <a:pt x="276" y="1"/>
                    </a:cubicBezTo>
                    <a:cubicBezTo>
                      <a:pt x="275" y="1"/>
                      <a:pt x="275" y="1"/>
                      <a:pt x="275" y="1"/>
                    </a:cubicBezTo>
                    <a:cubicBezTo>
                      <a:pt x="272" y="1"/>
                      <a:pt x="270" y="2"/>
                      <a:pt x="268" y="3"/>
                    </a:cubicBezTo>
                    <a:cubicBezTo>
                      <a:pt x="266" y="3"/>
                      <a:pt x="266" y="3"/>
                      <a:pt x="266" y="3"/>
                    </a:cubicBezTo>
                    <a:cubicBezTo>
                      <a:pt x="264" y="4"/>
                      <a:pt x="262" y="5"/>
                      <a:pt x="260" y="7"/>
                    </a:cubicBezTo>
                    <a:cubicBezTo>
                      <a:pt x="259" y="7"/>
                      <a:pt x="259" y="7"/>
                      <a:pt x="259" y="7"/>
                    </a:cubicBezTo>
                    <a:cubicBezTo>
                      <a:pt x="256" y="9"/>
                      <a:pt x="254" y="11"/>
                      <a:pt x="252" y="13"/>
                    </a:cubicBezTo>
                    <a:cubicBezTo>
                      <a:pt x="13" y="253"/>
                      <a:pt x="13" y="253"/>
                      <a:pt x="13" y="253"/>
                    </a:cubicBezTo>
                    <a:cubicBezTo>
                      <a:pt x="4" y="261"/>
                      <a:pt x="0" y="272"/>
                      <a:pt x="0" y="283"/>
                    </a:cubicBezTo>
                    <a:cubicBezTo>
                      <a:pt x="0" y="295"/>
                      <a:pt x="4" y="305"/>
                      <a:pt x="13" y="314"/>
                    </a:cubicBezTo>
                    <a:cubicBezTo>
                      <a:pt x="21" y="322"/>
                      <a:pt x="32" y="326"/>
                      <a:pt x="43" y="326"/>
                    </a:cubicBezTo>
                    <a:cubicBezTo>
                      <a:pt x="55" y="326"/>
                      <a:pt x="65" y="322"/>
                      <a:pt x="74" y="314"/>
                    </a:cubicBezTo>
                    <a:cubicBezTo>
                      <a:pt x="240" y="147"/>
                      <a:pt x="240" y="147"/>
                      <a:pt x="240" y="147"/>
                    </a:cubicBezTo>
                    <a:cubicBezTo>
                      <a:pt x="240" y="489"/>
                      <a:pt x="240" y="489"/>
                      <a:pt x="240" y="489"/>
                    </a:cubicBezTo>
                    <a:cubicBezTo>
                      <a:pt x="240" y="555"/>
                      <a:pt x="240" y="555"/>
                      <a:pt x="240" y="555"/>
                    </a:cubicBezTo>
                    <a:cubicBezTo>
                      <a:pt x="240" y="814"/>
                      <a:pt x="240" y="814"/>
                      <a:pt x="240" y="814"/>
                    </a:cubicBezTo>
                    <a:cubicBezTo>
                      <a:pt x="240" y="838"/>
                      <a:pt x="259" y="857"/>
                      <a:pt x="283" y="857"/>
                    </a:cubicBezTo>
                    <a:cubicBezTo>
                      <a:pt x="307" y="857"/>
                      <a:pt x="326" y="838"/>
                      <a:pt x="326" y="814"/>
                    </a:cubicBezTo>
                    <a:cubicBezTo>
                      <a:pt x="326" y="555"/>
                      <a:pt x="326" y="555"/>
                      <a:pt x="326" y="555"/>
                    </a:cubicBezTo>
                    <a:cubicBezTo>
                      <a:pt x="326" y="489"/>
                      <a:pt x="326" y="489"/>
                      <a:pt x="326" y="489"/>
                    </a:cubicBezTo>
                    <a:cubicBezTo>
                      <a:pt x="326" y="147"/>
                      <a:pt x="326" y="147"/>
                      <a:pt x="326" y="147"/>
                    </a:cubicBezTo>
                    <a:cubicBezTo>
                      <a:pt x="492" y="314"/>
                      <a:pt x="492" y="314"/>
                      <a:pt x="492" y="314"/>
                    </a:cubicBezTo>
                    <a:cubicBezTo>
                      <a:pt x="501" y="322"/>
                      <a:pt x="511" y="326"/>
                      <a:pt x="523" y="326"/>
                    </a:cubicBezTo>
                    <a:cubicBezTo>
                      <a:pt x="534" y="326"/>
                      <a:pt x="545" y="322"/>
                      <a:pt x="553" y="314"/>
                    </a:cubicBezTo>
                    <a:cubicBezTo>
                      <a:pt x="562" y="305"/>
                      <a:pt x="566" y="295"/>
                      <a:pt x="566" y="283"/>
                    </a:cubicBezTo>
                    <a:cubicBezTo>
                      <a:pt x="566" y="272"/>
                      <a:pt x="562" y="261"/>
                      <a:pt x="553" y="253"/>
                    </a:cubicBezTo>
                    <a:lnTo>
                      <a:pt x="314" y="13"/>
                    </a:lnTo>
                    <a:close/>
                  </a:path>
                </a:pathLst>
              </a:custGeom>
              <a:solidFill>
                <a:srgbClr val="0A37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13" name="Freeform 16">
                <a:extLst>
                  <a:ext uri="{FF2B5EF4-FFF2-40B4-BE49-F238E27FC236}">
                    <a16:creationId xmlns:a16="http://schemas.microsoft.com/office/drawing/2014/main" id="{410ACE44-5FCA-4FEF-8A55-16DC9CC92CD2}"/>
                  </a:ext>
                </a:extLst>
              </p:cNvPr>
              <p:cNvSpPr>
                <a:spLocks/>
              </p:cNvSpPr>
              <p:nvPr/>
            </p:nvSpPr>
            <p:spPr bwMode="auto">
              <a:xfrm>
                <a:off x="5648325" y="3224213"/>
                <a:ext cx="895350" cy="752475"/>
              </a:xfrm>
              <a:custGeom>
                <a:avLst/>
                <a:gdLst>
                  <a:gd name="T0" fmla="*/ 1232 w 1254"/>
                  <a:gd name="T1" fmla="*/ 0 h 1056"/>
                  <a:gd name="T2" fmla="*/ 715 w 1254"/>
                  <a:gd name="T3" fmla="*/ 0 h 1056"/>
                  <a:gd name="T4" fmla="*/ 715 w 1254"/>
                  <a:gd name="T5" fmla="*/ 66 h 1056"/>
                  <a:gd name="T6" fmla="*/ 1188 w 1254"/>
                  <a:gd name="T7" fmla="*/ 66 h 1056"/>
                  <a:gd name="T8" fmla="*/ 1188 w 1254"/>
                  <a:gd name="T9" fmla="*/ 990 h 1056"/>
                  <a:gd name="T10" fmla="*/ 66 w 1254"/>
                  <a:gd name="T11" fmla="*/ 990 h 1056"/>
                  <a:gd name="T12" fmla="*/ 66 w 1254"/>
                  <a:gd name="T13" fmla="*/ 66 h 1056"/>
                  <a:gd name="T14" fmla="*/ 541 w 1254"/>
                  <a:gd name="T15" fmla="*/ 66 h 1056"/>
                  <a:gd name="T16" fmla="*/ 541 w 1254"/>
                  <a:gd name="T17" fmla="*/ 0 h 1056"/>
                  <a:gd name="T18" fmla="*/ 22 w 1254"/>
                  <a:gd name="T19" fmla="*/ 0 h 1056"/>
                  <a:gd name="T20" fmla="*/ 0 w 1254"/>
                  <a:gd name="T21" fmla="*/ 22 h 1056"/>
                  <a:gd name="T22" fmla="*/ 0 w 1254"/>
                  <a:gd name="T23" fmla="*/ 1034 h 1056"/>
                  <a:gd name="T24" fmla="*/ 22 w 1254"/>
                  <a:gd name="T25" fmla="*/ 1056 h 1056"/>
                  <a:gd name="T26" fmla="*/ 1232 w 1254"/>
                  <a:gd name="T27" fmla="*/ 1056 h 1056"/>
                  <a:gd name="T28" fmla="*/ 1254 w 1254"/>
                  <a:gd name="T29" fmla="*/ 1034 h 1056"/>
                  <a:gd name="T30" fmla="*/ 1254 w 1254"/>
                  <a:gd name="T31" fmla="*/ 22 h 1056"/>
                  <a:gd name="T32" fmla="*/ 1232 w 1254"/>
                  <a:gd name="T33" fmla="*/ 0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4" h="1056">
                    <a:moveTo>
                      <a:pt x="1232" y="0"/>
                    </a:moveTo>
                    <a:cubicBezTo>
                      <a:pt x="715" y="0"/>
                      <a:pt x="715" y="0"/>
                      <a:pt x="715" y="0"/>
                    </a:cubicBezTo>
                    <a:cubicBezTo>
                      <a:pt x="715" y="66"/>
                      <a:pt x="715" y="66"/>
                      <a:pt x="715" y="66"/>
                    </a:cubicBezTo>
                    <a:cubicBezTo>
                      <a:pt x="1188" y="66"/>
                      <a:pt x="1188" y="66"/>
                      <a:pt x="1188" y="66"/>
                    </a:cubicBezTo>
                    <a:cubicBezTo>
                      <a:pt x="1188" y="990"/>
                      <a:pt x="1188" y="990"/>
                      <a:pt x="1188" y="990"/>
                    </a:cubicBezTo>
                    <a:cubicBezTo>
                      <a:pt x="66" y="990"/>
                      <a:pt x="66" y="990"/>
                      <a:pt x="66" y="990"/>
                    </a:cubicBezTo>
                    <a:cubicBezTo>
                      <a:pt x="66" y="66"/>
                      <a:pt x="66" y="66"/>
                      <a:pt x="66" y="66"/>
                    </a:cubicBezTo>
                    <a:cubicBezTo>
                      <a:pt x="541" y="66"/>
                      <a:pt x="541" y="66"/>
                      <a:pt x="541" y="66"/>
                    </a:cubicBezTo>
                    <a:cubicBezTo>
                      <a:pt x="541" y="0"/>
                      <a:pt x="541" y="0"/>
                      <a:pt x="541" y="0"/>
                    </a:cubicBezTo>
                    <a:cubicBezTo>
                      <a:pt x="22" y="0"/>
                      <a:pt x="22" y="0"/>
                      <a:pt x="22" y="0"/>
                    </a:cubicBezTo>
                    <a:cubicBezTo>
                      <a:pt x="10" y="0"/>
                      <a:pt x="0" y="10"/>
                      <a:pt x="0" y="22"/>
                    </a:cubicBezTo>
                    <a:cubicBezTo>
                      <a:pt x="0" y="1034"/>
                      <a:pt x="0" y="1034"/>
                      <a:pt x="0" y="1034"/>
                    </a:cubicBezTo>
                    <a:cubicBezTo>
                      <a:pt x="0" y="1046"/>
                      <a:pt x="10" y="1056"/>
                      <a:pt x="22" y="1056"/>
                    </a:cubicBezTo>
                    <a:cubicBezTo>
                      <a:pt x="1232" y="1056"/>
                      <a:pt x="1232" y="1056"/>
                      <a:pt x="1232" y="1056"/>
                    </a:cubicBezTo>
                    <a:cubicBezTo>
                      <a:pt x="1244" y="1056"/>
                      <a:pt x="1254" y="1046"/>
                      <a:pt x="1254" y="1034"/>
                    </a:cubicBezTo>
                    <a:cubicBezTo>
                      <a:pt x="1254" y="22"/>
                      <a:pt x="1254" y="22"/>
                      <a:pt x="1254" y="22"/>
                    </a:cubicBezTo>
                    <a:cubicBezTo>
                      <a:pt x="1254" y="10"/>
                      <a:pt x="1244" y="0"/>
                      <a:pt x="1232" y="0"/>
                    </a:cubicBezTo>
                    <a:close/>
                  </a:path>
                </a:pathLst>
              </a:custGeom>
              <a:solidFill>
                <a:srgbClr val="05193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sp>
        <p:nvSpPr>
          <p:cNvPr id="15" name="Oval 20">
            <a:extLst>
              <a:ext uri="{FF2B5EF4-FFF2-40B4-BE49-F238E27FC236}">
                <a16:creationId xmlns:a16="http://schemas.microsoft.com/office/drawing/2014/main" id="{30D23BA7-7228-4F89-8A58-EB64E4977058}"/>
              </a:ext>
            </a:extLst>
          </p:cNvPr>
          <p:cNvSpPr>
            <a:spLocks noChangeAspect="1" noChangeArrowheads="1"/>
          </p:cNvSpPr>
          <p:nvPr/>
        </p:nvSpPr>
        <p:spPr bwMode="auto">
          <a:xfrm>
            <a:off x="807717" y="2277846"/>
            <a:ext cx="306910" cy="306910"/>
          </a:xfrm>
          <a:prstGeom prst="ellipse">
            <a:avLst/>
          </a:prstGeom>
          <a:solidFill>
            <a:srgbClr val="12284C">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100000"/>
                  </a:srgbClr>
                </a:solidFill>
                <a:effectLst/>
                <a:uLnTx/>
                <a:uFillTx/>
                <a:latin typeface="Open Sans"/>
                <a:ea typeface="+mn-ea"/>
                <a:cs typeface="+mn-cs"/>
              </a:rPr>
              <a:t>1</a:t>
            </a:r>
          </a:p>
        </p:txBody>
      </p:sp>
      <p:sp>
        <p:nvSpPr>
          <p:cNvPr id="16" name="Rectangle 15">
            <a:extLst>
              <a:ext uri="{FF2B5EF4-FFF2-40B4-BE49-F238E27FC236}">
                <a16:creationId xmlns:a16="http://schemas.microsoft.com/office/drawing/2014/main" id="{159F1876-6C3B-4C11-BEEF-EF6816DC27FD}"/>
              </a:ext>
            </a:extLst>
          </p:cNvPr>
          <p:cNvSpPr/>
          <p:nvPr/>
        </p:nvSpPr>
        <p:spPr>
          <a:xfrm>
            <a:off x="1816277" y="1473693"/>
            <a:ext cx="5013731" cy="4434997"/>
          </a:xfrm>
          <a:prstGeom prst="rect">
            <a:avLst/>
          </a:prstGeom>
          <a:solidFill>
            <a:schemeClr val="accent3">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9" name="Rectangle: Rounded Corners 18">
            <a:extLst>
              <a:ext uri="{FF2B5EF4-FFF2-40B4-BE49-F238E27FC236}">
                <a16:creationId xmlns:a16="http://schemas.microsoft.com/office/drawing/2014/main" id="{8E77A715-6C5A-4375-902E-8F5A4F438089}"/>
              </a:ext>
            </a:extLst>
          </p:cNvPr>
          <p:cNvSpPr/>
          <p:nvPr/>
        </p:nvSpPr>
        <p:spPr>
          <a:xfrm>
            <a:off x="1922608" y="2948095"/>
            <a:ext cx="2299257" cy="2428907"/>
          </a:xfrm>
          <a:prstGeom prst="roundRect">
            <a:avLst/>
          </a:prstGeom>
          <a:solidFill>
            <a:schemeClr val="accent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Initial screening </a:t>
            </a:r>
            <a:r>
              <a:rPr kumimoji="0" lang="en-US" sz="1600" b="0" i="0" u="none" strike="noStrike" kern="1200" cap="none" spc="0" normalizeH="0" baseline="0" noProof="0" dirty="0">
                <a:ln>
                  <a:noFill/>
                </a:ln>
                <a:solidFill>
                  <a:srgbClr val="000000"/>
                </a:solidFill>
                <a:effectLst/>
                <a:uLnTx/>
                <a:uFillTx/>
                <a:latin typeface="Open Sans"/>
                <a:ea typeface="+mn-ea"/>
                <a:cs typeface="+mn-cs"/>
              </a:rPr>
              <a:t>to ensure application has been completed and submitted correctly and that requests are compliant with federal and state law</a:t>
            </a:r>
          </a:p>
        </p:txBody>
      </p:sp>
      <p:sp>
        <p:nvSpPr>
          <p:cNvPr id="22" name="TextBox 21">
            <a:extLst>
              <a:ext uri="{FF2B5EF4-FFF2-40B4-BE49-F238E27FC236}">
                <a16:creationId xmlns:a16="http://schemas.microsoft.com/office/drawing/2014/main" id="{A9B61562-AB39-40D7-9856-11FAAD6D29A1}"/>
              </a:ext>
            </a:extLst>
          </p:cNvPr>
          <p:cNvSpPr txBox="1"/>
          <p:nvPr/>
        </p:nvSpPr>
        <p:spPr>
          <a:xfrm>
            <a:off x="2361228" y="1550457"/>
            <a:ext cx="3923831"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84C"/>
                </a:solidFill>
                <a:effectLst/>
                <a:uLnTx/>
                <a:uFillTx/>
                <a:latin typeface="Open Sans"/>
                <a:ea typeface="+mn-ea"/>
                <a:cs typeface="+mn-cs"/>
              </a:rPr>
              <a:t>KSDE screening &amp; review process</a:t>
            </a:r>
            <a:br>
              <a:rPr kumimoji="0" lang="en-US" sz="1800" b="1" i="0" u="none" strike="noStrike" kern="1200" cap="none" spc="0" normalizeH="0" baseline="0" noProof="0" dirty="0">
                <a:ln>
                  <a:noFill/>
                </a:ln>
                <a:solidFill>
                  <a:srgbClr val="12284C"/>
                </a:solidFill>
                <a:effectLst/>
                <a:uLnTx/>
                <a:uFillTx/>
                <a:latin typeface="Open Sans"/>
                <a:ea typeface="+mn-ea"/>
                <a:cs typeface="+mn-cs"/>
              </a:rPr>
            </a:br>
            <a:r>
              <a:rPr kumimoji="0" lang="en-US" sz="1800" b="1" i="0" u="none" strike="noStrike" kern="1200" cap="none" spc="0" normalizeH="0" baseline="0" noProof="0" dirty="0">
                <a:ln>
                  <a:noFill/>
                </a:ln>
                <a:solidFill>
                  <a:srgbClr val="12284C"/>
                </a:solidFill>
                <a:effectLst/>
                <a:uLnTx/>
                <a:uFillTx/>
                <a:latin typeface="Open Sans"/>
                <a:ea typeface="+mn-ea"/>
                <a:cs typeface="+mn-cs"/>
              </a:rPr>
              <a:t>for each EANS application</a:t>
            </a:r>
          </a:p>
        </p:txBody>
      </p:sp>
      <p:grpSp>
        <p:nvGrpSpPr>
          <p:cNvPr id="44" name="Group 43">
            <a:extLst>
              <a:ext uri="{FF2B5EF4-FFF2-40B4-BE49-F238E27FC236}">
                <a16:creationId xmlns:a16="http://schemas.microsoft.com/office/drawing/2014/main" id="{A68DB590-34A5-4515-8C88-D7E16CCFF9BA}"/>
              </a:ext>
            </a:extLst>
          </p:cNvPr>
          <p:cNvGrpSpPr/>
          <p:nvPr/>
        </p:nvGrpSpPr>
        <p:grpSpPr>
          <a:xfrm>
            <a:off x="2831597" y="2689542"/>
            <a:ext cx="481278" cy="481278"/>
            <a:chOff x="3289256" y="2962687"/>
            <a:chExt cx="481278" cy="481278"/>
          </a:xfrm>
        </p:grpSpPr>
        <p:sp>
          <p:nvSpPr>
            <p:cNvPr id="26" name="Oval 25">
              <a:extLst>
                <a:ext uri="{FF2B5EF4-FFF2-40B4-BE49-F238E27FC236}">
                  <a16:creationId xmlns:a16="http://schemas.microsoft.com/office/drawing/2014/main" id="{DB31C01C-EADB-4300-B02F-97843657576D}"/>
                </a:ext>
              </a:extLst>
            </p:cNvPr>
            <p:cNvSpPr/>
            <p:nvPr/>
          </p:nvSpPr>
          <p:spPr>
            <a:xfrm>
              <a:off x="3289256" y="2962687"/>
              <a:ext cx="481278" cy="481278"/>
            </a:xfrm>
            <a:prstGeom prst="ellipse">
              <a:avLst/>
            </a:prstGeom>
            <a:solidFill>
              <a:srgbClr val="FFFFFF"/>
            </a:solidFill>
            <a:ln w="19050" cap="rnd" cmpd="sng" algn="ctr">
              <a:solidFill>
                <a:srgbClr val="EDAE1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9A1C4DAB-2479-4ED5-A229-ADE70E54C883}"/>
                </a:ext>
              </a:extLst>
            </p:cNvPr>
            <p:cNvGrpSpPr>
              <a:grpSpLocks noChangeAspect="1"/>
            </p:cNvGrpSpPr>
            <p:nvPr/>
          </p:nvGrpSpPr>
          <p:grpSpPr>
            <a:xfrm>
              <a:off x="3329691" y="3006469"/>
              <a:ext cx="393715" cy="393715"/>
              <a:chOff x="5273675" y="2606675"/>
              <a:chExt cx="1644650" cy="1644650"/>
            </a:xfrm>
          </p:grpSpPr>
          <p:sp>
            <p:nvSpPr>
              <p:cNvPr id="28" name="AutoShape 51">
                <a:extLst>
                  <a:ext uri="{FF2B5EF4-FFF2-40B4-BE49-F238E27FC236}">
                    <a16:creationId xmlns:a16="http://schemas.microsoft.com/office/drawing/2014/main" id="{6B265A12-0DAA-4AAC-88A8-451AD1B418D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5C4F4961-116A-4B91-A2FE-714F6094ACAB}"/>
                  </a:ext>
                </a:extLst>
              </p:cNvPr>
              <p:cNvGrpSpPr/>
              <p:nvPr/>
            </p:nvGrpSpPr>
            <p:grpSpPr>
              <a:xfrm>
                <a:off x="5646738" y="2889250"/>
                <a:ext cx="1102126" cy="1217613"/>
                <a:chOff x="5646738" y="2889250"/>
                <a:chExt cx="1102126" cy="1217613"/>
              </a:xfrm>
            </p:grpSpPr>
            <p:sp>
              <p:nvSpPr>
                <p:cNvPr id="30" name="Freeform 30">
                  <a:extLst>
                    <a:ext uri="{FF2B5EF4-FFF2-40B4-BE49-F238E27FC236}">
                      <a16:creationId xmlns:a16="http://schemas.microsoft.com/office/drawing/2014/main" id="{4CA3C51C-12D2-4B86-A559-09B660E0B597}"/>
                    </a:ext>
                  </a:extLst>
                </p:cNvPr>
                <p:cNvSpPr>
                  <a:spLocks/>
                </p:cNvSpPr>
                <p:nvPr/>
              </p:nvSpPr>
              <p:spPr bwMode="auto">
                <a:xfrm>
                  <a:off x="5646738" y="2889250"/>
                  <a:ext cx="1102126" cy="1217613"/>
                </a:xfrm>
                <a:custGeom>
                  <a:avLst/>
                  <a:gdLst>
                    <a:gd name="connsiteX0" fmla="*/ 859623 w 1102126"/>
                    <a:gd name="connsiteY0" fmla="*/ 901700 h 1217613"/>
                    <a:gd name="connsiteX1" fmla="*/ 793750 w 1102126"/>
                    <a:gd name="connsiteY1" fmla="*/ 964565 h 1217613"/>
                    <a:gd name="connsiteX2" fmla="*/ 866784 w 1102126"/>
                    <a:gd name="connsiteY2" fmla="*/ 1041003 h 1217613"/>
                    <a:gd name="connsiteX3" fmla="*/ 898288 w 1102126"/>
                    <a:gd name="connsiteY3" fmla="*/ 1073865 h 1217613"/>
                    <a:gd name="connsiteX4" fmla="*/ 1004974 w 1102126"/>
                    <a:gd name="connsiteY4" fmla="*/ 1183878 h 1217613"/>
                    <a:gd name="connsiteX5" fmla="*/ 1048651 w 1102126"/>
                    <a:gd name="connsiteY5" fmla="*/ 1164590 h 1217613"/>
                    <a:gd name="connsiteX6" fmla="*/ 1069415 w 1102126"/>
                    <a:gd name="connsiteY6" fmla="*/ 1133872 h 1217613"/>
                    <a:gd name="connsiteX7" fmla="*/ 1070131 w 1102126"/>
                    <a:gd name="connsiteY7" fmla="*/ 1121013 h 1217613"/>
                    <a:gd name="connsiteX8" fmla="*/ 898288 w 1102126"/>
                    <a:gd name="connsiteY8" fmla="*/ 942420 h 1217613"/>
                    <a:gd name="connsiteX9" fmla="*/ 866784 w 1102126"/>
                    <a:gd name="connsiteY9" fmla="*/ 909558 h 1217613"/>
                    <a:gd name="connsiteX10" fmla="*/ 859623 w 1102126"/>
                    <a:gd name="connsiteY10" fmla="*/ 901700 h 1217613"/>
                    <a:gd name="connsiteX11" fmla="*/ 493356 w 1102126"/>
                    <a:gd name="connsiteY11" fmla="*/ 315913 h 1217613"/>
                    <a:gd name="connsiteX12" fmla="*/ 479099 w 1102126"/>
                    <a:gd name="connsiteY12" fmla="*/ 316628 h 1217613"/>
                    <a:gd name="connsiteX13" fmla="*/ 351501 w 1102126"/>
                    <a:gd name="connsiteY13" fmla="*/ 355947 h 1217613"/>
                    <a:gd name="connsiteX14" fmla="*/ 259545 w 1102126"/>
                    <a:gd name="connsiteY14" fmla="*/ 446023 h 1217613"/>
                    <a:gd name="connsiteX15" fmla="*/ 254555 w 1102126"/>
                    <a:gd name="connsiteY15" fmla="*/ 455316 h 1217613"/>
                    <a:gd name="connsiteX16" fmla="*/ 239585 w 1102126"/>
                    <a:gd name="connsiteY16" fmla="*/ 485342 h 1217613"/>
                    <a:gd name="connsiteX17" fmla="*/ 228180 w 1102126"/>
                    <a:gd name="connsiteY17" fmla="*/ 518941 h 1217613"/>
                    <a:gd name="connsiteX18" fmla="*/ 220339 w 1102126"/>
                    <a:gd name="connsiteY18" fmla="*/ 553256 h 1217613"/>
                    <a:gd name="connsiteX19" fmla="*/ 218200 w 1102126"/>
                    <a:gd name="connsiteY19" fmla="*/ 577562 h 1217613"/>
                    <a:gd name="connsiteX20" fmla="*/ 217487 w 1102126"/>
                    <a:gd name="connsiteY20" fmla="*/ 592575 h 1217613"/>
                    <a:gd name="connsiteX21" fmla="*/ 218913 w 1102126"/>
                    <a:gd name="connsiteY21" fmla="*/ 615451 h 1217613"/>
                    <a:gd name="connsiteX22" fmla="*/ 223903 w 1102126"/>
                    <a:gd name="connsiteY22" fmla="*/ 651195 h 1217613"/>
                    <a:gd name="connsiteX23" fmla="*/ 225328 w 1102126"/>
                    <a:gd name="connsiteY23" fmla="*/ 658344 h 1217613"/>
                    <a:gd name="connsiteX24" fmla="*/ 242437 w 1102126"/>
                    <a:gd name="connsiteY24" fmla="*/ 707672 h 1217613"/>
                    <a:gd name="connsiteX25" fmla="*/ 264535 w 1102126"/>
                    <a:gd name="connsiteY25" fmla="*/ 746990 h 1217613"/>
                    <a:gd name="connsiteX26" fmla="*/ 364332 w 1102126"/>
                    <a:gd name="connsiteY26" fmla="*/ 837066 h 1217613"/>
                    <a:gd name="connsiteX27" fmla="*/ 494069 w 1102126"/>
                    <a:gd name="connsiteY27" fmla="*/ 869951 h 1217613"/>
                    <a:gd name="connsiteX28" fmla="*/ 623805 w 1102126"/>
                    <a:gd name="connsiteY28" fmla="*/ 837066 h 1217613"/>
                    <a:gd name="connsiteX29" fmla="*/ 724316 w 1102126"/>
                    <a:gd name="connsiteY29" fmla="*/ 745561 h 1217613"/>
                    <a:gd name="connsiteX30" fmla="*/ 736434 w 1102126"/>
                    <a:gd name="connsiteY30" fmla="*/ 725544 h 1217613"/>
                    <a:gd name="connsiteX31" fmla="*/ 769937 w 1102126"/>
                    <a:gd name="connsiteY31" fmla="*/ 592575 h 1217613"/>
                    <a:gd name="connsiteX32" fmla="*/ 635924 w 1102126"/>
                    <a:gd name="connsiteY32" fmla="*/ 355947 h 1217613"/>
                    <a:gd name="connsiteX33" fmla="*/ 619528 w 1102126"/>
                    <a:gd name="connsiteY33" fmla="*/ 345938 h 1217613"/>
                    <a:gd name="connsiteX34" fmla="*/ 599569 w 1102126"/>
                    <a:gd name="connsiteY34" fmla="*/ 337360 h 1217613"/>
                    <a:gd name="connsiteX35" fmla="*/ 592440 w 1102126"/>
                    <a:gd name="connsiteY35" fmla="*/ 334500 h 1217613"/>
                    <a:gd name="connsiteX36" fmla="*/ 509038 w 1102126"/>
                    <a:gd name="connsiteY36" fmla="*/ 316628 h 1217613"/>
                    <a:gd name="connsiteX37" fmla="*/ 494069 w 1102126"/>
                    <a:gd name="connsiteY37" fmla="*/ 315913 h 1217613"/>
                    <a:gd name="connsiteX38" fmla="*/ 493356 w 1102126"/>
                    <a:gd name="connsiteY38" fmla="*/ 315913 h 1217613"/>
                    <a:gd name="connsiteX39" fmla="*/ 494232 w 1102126"/>
                    <a:gd name="connsiteY39" fmla="*/ 285750 h 1217613"/>
                    <a:gd name="connsiteX40" fmla="*/ 630626 w 1102126"/>
                    <a:gd name="connsiteY40" fmla="*/ 317865 h 1217613"/>
                    <a:gd name="connsiteX41" fmla="*/ 690611 w 1102126"/>
                    <a:gd name="connsiteY41" fmla="*/ 357116 h 1217613"/>
                    <a:gd name="connsiteX42" fmla="*/ 802012 w 1102126"/>
                    <a:gd name="connsiteY42" fmla="*/ 593339 h 1217613"/>
                    <a:gd name="connsiteX43" fmla="*/ 744883 w 1102126"/>
                    <a:gd name="connsiteY43" fmla="*/ 771755 h 1217613"/>
                    <a:gd name="connsiteX44" fmla="*/ 816294 w 1102126"/>
                    <a:gd name="connsiteY44" fmla="*/ 845976 h 1217613"/>
                    <a:gd name="connsiteX45" fmla="*/ 815580 w 1102126"/>
                    <a:gd name="connsiteY45" fmla="*/ 858108 h 1217613"/>
                    <a:gd name="connsiteX46" fmla="*/ 749168 w 1102126"/>
                    <a:gd name="connsiteY46" fmla="*/ 920911 h 1217613"/>
                    <a:gd name="connsiteX47" fmla="*/ 744883 w 1102126"/>
                    <a:gd name="connsiteY47" fmla="*/ 922338 h 1217613"/>
                    <a:gd name="connsiteX48" fmla="*/ 738456 w 1102126"/>
                    <a:gd name="connsiteY48" fmla="*/ 919484 h 1217613"/>
                    <a:gd name="connsiteX49" fmla="*/ 696324 w 1102126"/>
                    <a:gd name="connsiteY49" fmla="*/ 876664 h 1217613"/>
                    <a:gd name="connsiteX50" fmla="*/ 667760 w 1102126"/>
                    <a:gd name="connsiteY50" fmla="*/ 848117 h 1217613"/>
                    <a:gd name="connsiteX51" fmla="*/ 614916 w 1102126"/>
                    <a:gd name="connsiteY51" fmla="*/ 876664 h 1217613"/>
                    <a:gd name="connsiteX52" fmla="*/ 494232 w 1102126"/>
                    <a:gd name="connsiteY52" fmla="*/ 901642 h 1217613"/>
                    <a:gd name="connsiteX53" fmla="*/ 372833 w 1102126"/>
                    <a:gd name="connsiteY53" fmla="*/ 876664 h 1217613"/>
                    <a:gd name="connsiteX54" fmla="*/ 306421 w 1102126"/>
                    <a:gd name="connsiteY54" fmla="*/ 837412 h 1217613"/>
                    <a:gd name="connsiteX55" fmla="*/ 227155 w 1102126"/>
                    <a:gd name="connsiteY55" fmla="*/ 747491 h 1217613"/>
                    <a:gd name="connsiteX56" fmla="*/ 207875 w 1102126"/>
                    <a:gd name="connsiteY56" fmla="*/ 708239 h 1217613"/>
                    <a:gd name="connsiteX57" fmla="*/ 187165 w 1102126"/>
                    <a:gd name="connsiteY57" fmla="*/ 616176 h 1217613"/>
                    <a:gd name="connsiteX58" fmla="*/ 185737 w 1102126"/>
                    <a:gd name="connsiteY58" fmla="*/ 593339 h 1217613"/>
                    <a:gd name="connsiteX59" fmla="*/ 186451 w 1102126"/>
                    <a:gd name="connsiteY59" fmla="*/ 578352 h 1217613"/>
                    <a:gd name="connsiteX60" fmla="*/ 205018 w 1102126"/>
                    <a:gd name="connsiteY60" fmla="*/ 486290 h 1217613"/>
                    <a:gd name="connsiteX61" fmla="*/ 222871 w 1102126"/>
                    <a:gd name="connsiteY61" fmla="*/ 447038 h 1217613"/>
                    <a:gd name="connsiteX62" fmla="*/ 297138 w 1102126"/>
                    <a:gd name="connsiteY62" fmla="*/ 357116 h 1217613"/>
                    <a:gd name="connsiteX63" fmla="*/ 357837 w 1102126"/>
                    <a:gd name="connsiteY63" fmla="*/ 317865 h 1217613"/>
                    <a:gd name="connsiteX64" fmla="*/ 494232 w 1102126"/>
                    <a:gd name="connsiteY64" fmla="*/ 285750 h 1217613"/>
                    <a:gd name="connsiteX65" fmla="*/ 31750 w 1102126"/>
                    <a:gd name="connsiteY65" fmla="*/ 31750 h 1217613"/>
                    <a:gd name="connsiteX66" fmla="*/ 31750 w 1102126"/>
                    <a:gd name="connsiteY66" fmla="*/ 1160463 h 1217613"/>
                    <a:gd name="connsiteX67" fmla="*/ 866775 w 1102126"/>
                    <a:gd name="connsiteY67" fmla="*/ 1160463 h 1217613"/>
                    <a:gd name="connsiteX68" fmla="*/ 866775 w 1102126"/>
                    <a:gd name="connsiteY68" fmla="*/ 1085549 h 1217613"/>
                    <a:gd name="connsiteX69" fmla="*/ 761148 w 1102126"/>
                    <a:gd name="connsiteY69" fmla="*/ 974247 h 1217613"/>
                    <a:gd name="connsiteX70" fmla="*/ 761148 w 1102126"/>
                    <a:gd name="connsiteY70" fmla="*/ 952129 h 1217613"/>
                    <a:gd name="connsiteX71" fmla="*/ 772567 w 1102126"/>
                    <a:gd name="connsiteY71" fmla="*/ 941427 h 1217613"/>
                    <a:gd name="connsiteX72" fmla="*/ 841796 w 1102126"/>
                    <a:gd name="connsiteY72" fmla="*/ 875074 h 1217613"/>
                    <a:gd name="connsiteX73" fmla="*/ 849647 w 1102126"/>
                    <a:gd name="connsiteY73" fmla="*/ 867226 h 1217613"/>
                    <a:gd name="connsiteX74" fmla="*/ 861066 w 1102126"/>
                    <a:gd name="connsiteY74" fmla="*/ 862945 h 1217613"/>
                    <a:gd name="connsiteX75" fmla="*/ 866775 w 1102126"/>
                    <a:gd name="connsiteY75" fmla="*/ 865086 h 1217613"/>
                    <a:gd name="connsiteX76" fmla="*/ 866775 w 1102126"/>
                    <a:gd name="connsiteY76" fmla="*/ 31750 h 1217613"/>
                    <a:gd name="connsiteX77" fmla="*/ 31750 w 1102126"/>
                    <a:gd name="connsiteY77" fmla="*/ 31750 h 1217613"/>
                    <a:gd name="connsiteX78" fmla="*/ 15713 w 1102126"/>
                    <a:gd name="connsiteY78" fmla="*/ 0 h 1217613"/>
                    <a:gd name="connsiteX79" fmla="*/ 882777 w 1102126"/>
                    <a:gd name="connsiteY79" fmla="*/ 0 h 1217613"/>
                    <a:gd name="connsiteX80" fmla="*/ 898490 w 1102126"/>
                    <a:gd name="connsiteY80" fmla="*/ 15711 h 1217613"/>
                    <a:gd name="connsiteX81" fmla="*/ 898490 w 1102126"/>
                    <a:gd name="connsiteY81" fmla="*/ 896249 h 1217613"/>
                    <a:gd name="connsiteX82" fmla="*/ 1092758 w 1102126"/>
                    <a:gd name="connsiteY82" fmla="*/ 1100494 h 1217613"/>
                    <a:gd name="connsiteX83" fmla="*/ 1098472 w 1102126"/>
                    <a:gd name="connsiteY83" fmla="*/ 1144771 h 1217613"/>
                    <a:gd name="connsiteX84" fmla="*/ 1069903 w 1102126"/>
                    <a:gd name="connsiteY84" fmla="*/ 1188333 h 1217613"/>
                    <a:gd name="connsiteX85" fmla="*/ 1008480 w 1102126"/>
                    <a:gd name="connsiteY85" fmla="*/ 1217613 h 1217613"/>
                    <a:gd name="connsiteX86" fmla="*/ 981340 w 1102126"/>
                    <a:gd name="connsiteY86" fmla="*/ 1206901 h 1217613"/>
                    <a:gd name="connsiteX87" fmla="*/ 898490 w 1102126"/>
                    <a:gd name="connsiteY87" fmla="*/ 1119776 h 1217613"/>
                    <a:gd name="connsiteX88" fmla="*/ 898490 w 1102126"/>
                    <a:gd name="connsiteY88" fmla="*/ 1176907 h 1217613"/>
                    <a:gd name="connsiteX89" fmla="*/ 882777 w 1102126"/>
                    <a:gd name="connsiteY89" fmla="*/ 1192618 h 1217613"/>
                    <a:gd name="connsiteX90" fmla="*/ 15713 w 1102126"/>
                    <a:gd name="connsiteY90" fmla="*/ 1192618 h 1217613"/>
                    <a:gd name="connsiteX91" fmla="*/ 0 w 1102126"/>
                    <a:gd name="connsiteY91" fmla="*/ 1176907 h 1217613"/>
                    <a:gd name="connsiteX92" fmla="*/ 0 w 1102126"/>
                    <a:gd name="connsiteY92" fmla="*/ 15711 h 1217613"/>
                    <a:gd name="connsiteX93" fmla="*/ 15713 w 1102126"/>
                    <a:gd name="connsiteY93" fmla="*/ 0 h 121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02126" h="1217613">
                      <a:moveTo>
                        <a:pt x="859623" y="901700"/>
                      </a:moveTo>
                      <a:cubicBezTo>
                        <a:pt x="859623" y="901700"/>
                        <a:pt x="859623" y="901700"/>
                        <a:pt x="793750" y="964565"/>
                      </a:cubicBezTo>
                      <a:cubicBezTo>
                        <a:pt x="793750" y="964565"/>
                        <a:pt x="824539" y="996712"/>
                        <a:pt x="866784" y="1041003"/>
                      </a:cubicBezTo>
                      <a:cubicBezTo>
                        <a:pt x="876808" y="1051005"/>
                        <a:pt x="887548" y="1062435"/>
                        <a:pt x="898288" y="1073865"/>
                      </a:cubicBezTo>
                      <a:cubicBezTo>
                        <a:pt x="932657" y="1109583"/>
                        <a:pt x="970605" y="1148874"/>
                        <a:pt x="1004974" y="1183878"/>
                      </a:cubicBezTo>
                      <a:cubicBezTo>
                        <a:pt x="1007838" y="1187450"/>
                        <a:pt x="1027170" y="1185307"/>
                        <a:pt x="1048651" y="1164590"/>
                      </a:cubicBezTo>
                      <a:cubicBezTo>
                        <a:pt x="1057959" y="1155303"/>
                        <a:pt x="1065835" y="1143873"/>
                        <a:pt x="1069415" y="1133872"/>
                      </a:cubicBezTo>
                      <a:cubicBezTo>
                        <a:pt x="1071563" y="1126728"/>
                        <a:pt x="1070847" y="1122442"/>
                        <a:pt x="1070131" y="1121013"/>
                      </a:cubicBezTo>
                      <a:cubicBezTo>
                        <a:pt x="1070131" y="1121013"/>
                        <a:pt x="959865" y="1005999"/>
                        <a:pt x="898288" y="942420"/>
                      </a:cubicBezTo>
                      <a:cubicBezTo>
                        <a:pt x="885400" y="928132"/>
                        <a:pt x="873944" y="916702"/>
                        <a:pt x="866784" y="909558"/>
                      </a:cubicBezTo>
                      <a:cubicBezTo>
                        <a:pt x="863920" y="905986"/>
                        <a:pt x="861055" y="903129"/>
                        <a:pt x="859623" y="901700"/>
                      </a:cubicBezTo>
                      <a:close/>
                      <a:moveTo>
                        <a:pt x="493356" y="315913"/>
                      </a:moveTo>
                      <a:cubicBezTo>
                        <a:pt x="488366" y="315913"/>
                        <a:pt x="483376" y="315913"/>
                        <a:pt x="479099" y="316628"/>
                      </a:cubicBezTo>
                      <a:cubicBezTo>
                        <a:pt x="432765" y="318773"/>
                        <a:pt x="389281" y="333070"/>
                        <a:pt x="351501" y="355947"/>
                      </a:cubicBezTo>
                      <a:cubicBezTo>
                        <a:pt x="314433" y="378108"/>
                        <a:pt x="283068" y="409563"/>
                        <a:pt x="259545" y="446023"/>
                      </a:cubicBezTo>
                      <a:cubicBezTo>
                        <a:pt x="258119" y="448882"/>
                        <a:pt x="255981" y="452457"/>
                        <a:pt x="254555" y="455316"/>
                      </a:cubicBezTo>
                      <a:cubicBezTo>
                        <a:pt x="248852" y="465325"/>
                        <a:pt x="243862" y="475333"/>
                        <a:pt x="239585" y="485342"/>
                      </a:cubicBezTo>
                      <a:cubicBezTo>
                        <a:pt x="234595" y="496065"/>
                        <a:pt x="231031" y="507503"/>
                        <a:pt x="228180" y="518941"/>
                      </a:cubicBezTo>
                      <a:cubicBezTo>
                        <a:pt x="224616" y="529665"/>
                        <a:pt x="222477" y="541818"/>
                        <a:pt x="220339" y="553256"/>
                      </a:cubicBezTo>
                      <a:cubicBezTo>
                        <a:pt x="219626" y="561835"/>
                        <a:pt x="218913" y="569698"/>
                        <a:pt x="218200" y="577562"/>
                      </a:cubicBezTo>
                      <a:cubicBezTo>
                        <a:pt x="218200" y="582566"/>
                        <a:pt x="217487" y="587570"/>
                        <a:pt x="217487" y="592575"/>
                      </a:cubicBezTo>
                      <a:cubicBezTo>
                        <a:pt x="217487" y="600438"/>
                        <a:pt x="218200" y="607587"/>
                        <a:pt x="218913" y="615451"/>
                      </a:cubicBezTo>
                      <a:cubicBezTo>
                        <a:pt x="219626" y="627604"/>
                        <a:pt x="221764" y="639757"/>
                        <a:pt x="223903" y="651195"/>
                      </a:cubicBezTo>
                      <a:cubicBezTo>
                        <a:pt x="224616" y="653340"/>
                        <a:pt x="225328" y="656200"/>
                        <a:pt x="225328" y="658344"/>
                      </a:cubicBezTo>
                      <a:cubicBezTo>
                        <a:pt x="229606" y="675502"/>
                        <a:pt x="235308" y="691944"/>
                        <a:pt x="242437" y="707672"/>
                      </a:cubicBezTo>
                      <a:cubicBezTo>
                        <a:pt x="248852" y="721254"/>
                        <a:pt x="255981" y="734122"/>
                        <a:pt x="264535" y="746990"/>
                      </a:cubicBezTo>
                      <a:cubicBezTo>
                        <a:pt x="289484" y="784165"/>
                        <a:pt x="323700" y="815620"/>
                        <a:pt x="364332" y="837066"/>
                      </a:cubicBezTo>
                      <a:cubicBezTo>
                        <a:pt x="402825" y="857798"/>
                        <a:pt x="447021" y="869951"/>
                        <a:pt x="494069" y="869951"/>
                      </a:cubicBezTo>
                      <a:cubicBezTo>
                        <a:pt x="541116" y="869951"/>
                        <a:pt x="584599" y="857798"/>
                        <a:pt x="623805" y="837066"/>
                      </a:cubicBezTo>
                      <a:cubicBezTo>
                        <a:pt x="664437" y="815620"/>
                        <a:pt x="698653" y="783450"/>
                        <a:pt x="724316" y="745561"/>
                      </a:cubicBezTo>
                      <a:cubicBezTo>
                        <a:pt x="728593" y="739127"/>
                        <a:pt x="732157" y="732693"/>
                        <a:pt x="736434" y="725544"/>
                      </a:cubicBezTo>
                      <a:cubicBezTo>
                        <a:pt x="757819" y="686225"/>
                        <a:pt x="769937" y="641187"/>
                        <a:pt x="769937" y="592575"/>
                      </a:cubicBezTo>
                      <a:cubicBezTo>
                        <a:pt x="769937" y="492490"/>
                        <a:pt x="716474" y="404559"/>
                        <a:pt x="635924" y="355947"/>
                      </a:cubicBezTo>
                      <a:cubicBezTo>
                        <a:pt x="630934" y="352372"/>
                        <a:pt x="625231" y="349513"/>
                        <a:pt x="619528" y="345938"/>
                      </a:cubicBezTo>
                      <a:cubicBezTo>
                        <a:pt x="613113" y="343079"/>
                        <a:pt x="606697" y="340219"/>
                        <a:pt x="599569" y="337360"/>
                      </a:cubicBezTo>
                      <a:cubicBezTo>
                        <a:pt x="597430" y="335930"/>
                        <a:pt x="594579" y="335215"/>
                        <a:pt x="592440" y="334500"/>
                      </a:cubicBezTo>
                      <a:cubicBezTo>
                        <a:pt x="566065" y="324492"/>
                        <a:pt x="538265" y="318058"/>
                        <a:pt x="509038" y="316628"/>
                      </a:cubicBezTo>
                      <a:cubicBezTo>
                        <a:pt x="504048" y="315913"/>
                        <a:pt x="499059" y="315913"/>
                        <a:pt x="494069" y="315913"/>
                      </a:cubicBezTo>
                      <a:cubicBezTo>
                        <a:pt x="494069" y="315913"/>
                        <a:pt x="493356" y="315913"/>
                        <a:pt x="493356" y="315913"/>
                      </a:cubicBezTo>
                      <a:close/>
                      <a:moveTo>
                        <a:pt x="494232" y="285750"/>
                      </a:moveTo>
                      <a:cubicBezTo>
                        <a:pt x="542791" y="285750"/>
                        <a:pt x="589208" y="297169"/>
                        <a:pt x="630626" y="317865"/>
                      </a:cubicBezTo>
                      <a:cubicBezTo>
                        <a:pt x="652049" y="328570"/>
                        <a:pt x="672758" y="341416"/>
                        <a:pt x="690611" y="357116"/>
                      </a:cubicBezTo>
                      <a:cubicBezTo>
                        <a:pt x="759165" y="413496"/>
                        <a:pt x="802012" y="498422"/>
                        <a:pt x="802012" y="593339"/>
                      </a:cubicBezTo>
                      <a:cubicBezTo>
                        <a:pt x="802012" y="659710"/>
                        <a:pt x="781303" y="721799"/>
                        <a:pt x="744883" y="771755"/>
                      </a:cubicBezTo>
                      <a:cubicBezTo>
                        <a:pt x="754166" y="781033"/>
                        <a:pt x="816294" y="845976"/>
                        <a:pt x="816294" y="845976"/>
                      </a:cubicBezTo>
                      <a:cubicBezTo>
                        <a:pt x="819150" y="849544"/>
                        <a:pt x="819150" y="854540"/>
                        <a:pt x="815580" y="858108"/>
                      </a:cubicBezTo>
                      <a:cubicBezTo>
                        <a:pt x="815580" y="858108"/>
                        <a:pt x="815580" y="858108"/>
                        <a:pt x="749168" y="920911"/>
                      </a:cubicBezTo>
                      <a:cubicBezTo>
                        <a:pt x="747740" y="921624"/>
                        <a:pt x="746311" y="922338"/>
                        <a:pt x="744883" y="922338"/>
                      </a:cubicBezTo>
                      <a:cubicBezTo>
                        <a:pt x="742741" y="922338"/>
                        <a:pt x="740598" y="920911"/>
                        <a:pt x="738456" y="919484"/>
                      </a:cubicBezTo>
                      <a:cubicBezTo>
                        <a:pt x="734171" y="915202"/>
                        <a:pt x="714176" y="895219"/>
                        <a:pt x="696324" y="876664"/>
                      </a:cubicBezTo>
                      <a:cubicBezTo>
                        <a:pt x="683470" y="863818"/>
                        <a:pt x="671330" y="851685"/>
                        <a:pt x="667760" y="848117"/>
                      </a:cubicBezTo>
                      <a:cubicBezTo>
                        <a:pt x="651335" y="858822"/>
                        <a:pt x="633482" y="868813"/>
                        <a:pt x="614916" y="876664"/>
                      </a:cubicBezTo>
                      <a:cubicBezTo>
                        <a:pt x="577782" y="892364"/>
                        <a:pt x="537078" y="901642"/>
                        <a:pt x="494232" y="901642"/>
                      </a:cubicBezTo>
                      <a:cubicBezTo>
                        <a:pt x="451385" y="901642"/>
                        <a:pt x="409967" y="892364"/>
                        <a:pt x="372833" y="876664"/>
                      </a:cubicBezTo>
                      <a:cubicBezTo>
                        <a:pt x="349268" y="866672"/>
                        <a:pt x="326416" y="853113"/>
                        <a:pt x="306421" y="837412"/>
                      </a:cubicBezTo>
                      <a:cubicBezTo>
                        <a:pt x="274287" y="813148"/>
                        <a:pt x="247150" y="782460"/>
                        <a:pt x="227155" y="747491"/>
                      </a:cubicBezTo>
                      <a:cubicBezTo>
                        <a:pt x="220014" y="734645"/>
                        <a:pt x="213587" y="721799"/>
                        <a:pt x="207875" y="708239"/>
                      </a:cubicBezTo>
                      <a:cubicBezTo>
                        <a:pt x="196449" y="678979"/>
                        <a:pt x="189308" y="648291"/>
                        <a:pt x="187165" y="616176"/>
                      </a:cubicBezTo>
                      <a:cubicBezTo>
                        <a:pt x="186451" y="608326"/>
                        <a:pt x="185737" y="601189"/>
                        <a:pt x="185737" y="593339"/>
                      </a:cubicBezTo>
                      <a:cubicBezTo>
                        <a:pt x="185737" y="588344"/>
                        <a:pt x="186451" y="583348"/>
                        <a:pt x="186451" y="578352"/>
                      </a:cubicBezTo>
                      <a:cubicBezTo>
                        <a:pt x="187880" y="546237"/>
                        <a:pt x="194307" y="515550"/>
                        <a:pt x="205018" y="486290"/>
                      </a:cubicBezTo>
                      <a:cubicBezTo>
                        <a:pt x="210017" y="472730"/>
                        <a:pt x="216444" y="459884"/>
                        <a:pt x="222871" y="447038"/>
                      </a:cubicBezTo>
                      <a:cubicBezTo>
                        <a:pt x="242152" y="412782"/>
                        <a:pt x="267145" y="382095"/>
                        <a:pt x="297138" y="357116"/>
                      </a:cubicBezTo>
                      <a:cubicBezTo>
                        <a:pt x="315705" y="341416"/>
                        <a:pt x="335700" y="328570"/>
                        <a:pt x="357837" y="317865"/>
                      </a:cubicBezTo>
                      <a:cubicBezTo>
                        <a:pt x="398541" y="297169"/>
                        <a:pt x="444958" y="285750"/>
                        <a:pt x="494232" y="285750"/>
                      </a:cubicBezTo>
                      <a:close/>
                      <a:moveTo>
                        <a:pt x="31750" y="31750"/>
                      </a:moveTo>
                      <a:cubicBezTo>
                        <a:pt x="31750" y="31750"/>
                        <a:pt x="31750" y="31750"/>
                        <a:pt x="31750" y="1160463"/>
                      </a:cubicBezTo>
                      <a:cubicBezTo>
                        <a:pt x="31750" y="1160463"/>
                        <a:pt x="31750" y="1160463"/>
                        <a:pt x="866775" y="1160463"/>
                      </a:cubicBezTo>
                      <a:lnTo>
                        <a:pt x="866775" y="1085549"/>
                      </a:lnTo>
                      <a:cubicBezTo>
                        <a:pt x="825381" y="1042027"/>
                        <a:pt x="783273" y="997078"/>
                        <a:pt x="761148" y="974247"/>
                      </a:cubicBezTo>
                      <a:cubicBezTo>
                        <a:pt x="754725" y="967826"/>
                        <a:pt x="754725" y="957837"/>
                        <a:pt x="761148" y="952129"/>
                      </a:cubicBezTo>
                      <a:cubicBezTo>
                        <a:pt x="761148" y="952129"/>
                        <a:pt x="761148" y="952129"/>
                        <a:pt x="772567" y="941427"/>
                      </a:cubicBezTo>
                      <a:cubicBezTo>
                        <a:pt x="782559" y="931439"/>
                        <a:pt x="802543" y="912175"/>
                        <a:pt x="841796" y="875074"/>
                      </a:cubicBezTo>
                      <a:cubicBezTo>
                        <a:pt x="843937" y="872220"/>
                        <a:pt x="846792" y="870080"/>
                        <a:pt x="849647" y="867226"/>
                      </a:cubicBezTo>
                      <a:cubicBezTo>
                        <a:pt x="853215" y="864372"/>
                        <a:pt x="856783" y="862945"/>
                        <a:pt x="861066" y="862945"/>
                      </a:cubicBezTo>
                      <a:cubicBezTo>
                        <a:pt x="862493" y="862945"/>
                        <a:pt x="864634" y="863659"/>
                        <a:pt x="866775" y="865086"/>
                      </a:cubicBezTo>
                      <a:cubicBezTo>
                        <a:pt x="866775" y="865086"/>
                        <a:pt x="866775" y="865086"/>
                        <a:pt x="866775" y="31750"/>
                      </a:cubicBezTo>
                      <a:cubicBezTo>
                        <a:pt x="866775" y="31750"/>
                        <a:pt x="866775" y="31750"/>
                        <a:pt x="31750" y="31750"/>
                      </a:cubicBezTo>
                      <a:close/>
                      <a:moveTo>
                        <a:pt x="15713" y="0"/>
                      </a:moveTo>
                      <a:cubicBezTo>
                        <a:pt x="15713" y="0"/>
                        <a:pt x="15713" y="0"/>
                        <a:pt x="882777" y="0"/>
                      </a:cubicBezTo>
                      <a:cubicBezTo>
                        <a:pt x="892062" y="0"/>
                        <a:pt x="898490" y="7142"/>
                        <a:pt x="898490" y="15711"/>
                      </a:cubicBezTo>
                      <a:cubicBezTo>
                        <a:pt x="898490" y="15711"/>
                        <a:pt x="898490" y="15711"/>
                        <a:pt x="898490" y="896249"/>
                      </a:cubicBezTo>
                      <a:lnTo>
                        <a:pt x="1092758" y="1100494"/>
                      </a:lnTo>
                      <a:cubicBezTo>
                        <a:pt x="1102758" y="1111206"/>
                        <a:pt x="1104900" y="1126917"/>
                        <a:pt x="1098472" y="1144771"/>
                      </a:cubicBezTo>
                      <a:cubicBezTo>
                        <a:pt x="1093473" y="1159768"/>
                        <a:pt x="1083474" y="1174765"/>
                        <a:pt x="1069903" y="1188333"/>
                      </a:cubicBezTo>
                      <a:cubicBezTo>
                        <a:pt x="1049905" y="1206901"/>
                        <a:pt x="1027050" y="1217613"/>
                        <a:pt x="1008480" y="1217613"/>
                      </a:cubicBezTo>
                      <a:cubicBezTo>
                        <a:pt x="997767" y="1217613"/>
                        <a:pt x="988482" y="1214042"/>
                        <a:pt x="981340" y="1206901"/>
                      </a:cubicBezTo>
                      <a:cubicBezTo>
                        <a:pt x="981340" y="1206901"/>
                        <a:pt x="944200" y="1167623"/>
                        <a:pt x="898490" y="1119776"/>
                      </a:cubicBezTo>
                      <a:cubicBezTo>
                        <a:pt x="898490" y="1119776"/>
                        <a:pt x="898490" y="1119776"/>
                        <a:pt x="898490" y="1176907"/>
                      </a:cubicBezTo>
                      <a:cubicBezTo>
                        <a:pt x="898490" y="1186191"/>
                        <a:pt x="892062" y="1192618"/>
                        <a:pt x="882777" y="1192618"/>
                      </a:cubicBezTo>
                      <a:cubicBezTo>
                        <a:pt x="882777" y="1192618"/>
                        <a:pt x="882777" y="1192618"/>
                        <a:pt x="15713" y="1192618"/>
                      </a:cubicBezTo>
                      <a:cubicBezTo>
                        <a:pt x="6428" y="1192618"/>
                        <a:pt x="0" y="1186191"/>
                        <a:pt x="0" y="1176907"/>
                      </a:cubicBezTo>
                      <a:cubicBezTo>
                        <a:pt x="0" y="1176907"/>
                        <a:pt x="0" y="1176907"/>
                        <a:pt x="0" y="15711"/>
                      </a:cubicBezTo>
                      <a:cubicBezTo>
                        <a:pt x="0" y="7142"/>
                        <a:pt x="6428" y="0"/>
                        <a:pt x="15713" y="0"/>
                      </a:cubicBezTo>
                      <a:close/>
                    </a:path>
                  </a:pathLst>
                </a:custGeom>
                <a:solidFill>
                  <a:srgbClr val="05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31" name="Freeform 31">
                  <a:extLst>
                    <a:ext uri="{FF2B5EF4-FFF2-40B4-BE49-F238E27FC236}">
                      <a16:creationId xmlns:a16="http://schemas.microsoft.com/office/drawing/2014/main" id="{981B15FA-4779-41C1-A9CB-8D786404A642}"/>
                    </a:ext>
                  </a:extLst>
                </p:cNvPr>
                <p:cNvSpPr>
                  <a:spLocks/>
                </p:cNvSpPr>
                <p:nvPr/>
              </p:nvSpPr>
              <p:spPr bwMode="auto">
                <a:xfrm>
                  <a:off x="5808662" y="3076575"/>
                  <a:ext cx="576262" cy="819151"/>
                </a:xfrm>
                <a:custGeom>
                  <a:avLst/>
                  <a:gdLst>
                    <a:gd name="connsiteX0" fmla="*/ 19964 w 576262"/>
                    <a:gd name="connsiteY0" fmla="*/ 779463 h 819151"/>
                    <a:gd name="connsiteX1" fmla="*/ 554711 w 576262"/>
                    <a:gd name="connsiteY1" fmla="*/ 779463 h 819151"/>
                    <a:gd name="connsiteX2" fmla="*/ 574675 w 576262"/>
                    <a:gd name="connsiteY2" fmla="*/ 798946 h 819151"/>
                    <a:gd name="connsiteX3" fmla="*/ 554711 w 576262"/>
                    <a:gd name="connsiteY3" fmla="*/ 819151 h 819151"/>
                    <a:gd name="connsiteX4" fmla="*/ 19964 w 576262"/>
                    <a:gd name="connsiteY4" fmla="*/ 819151 h 819151"/>
                    <a:gd name="connsiteX5" fmla="*/ 0 w 576262"/>
                    <a:gd name="connsiteY5" fmla="*/ 798946 h 819151"/>
                    <a:gd name="connsiteX6" fmla="*/ 19964 w 576262"/>
                    <a:gd name="connsiteY6" fmla="*/ 779463 h 819151"/>
                    <a:gd name="connsiteX7" fmla="*/ 19896 w 576262"/>
                    <a:gd name="connsiteY7" fmla="*/ 649288 h 819151"/>
                    <a:gd name="connsiteX8" fmla="*/ 99483 w 576262"/>
                    <a:gd name="connsiteY8" fmla="*/ 649288 h 819151"/>
                    <a:gd name="connsiteX9" fmla="*/ 149225 w 576262"/>
                    <a:gd name="connsiteY9" fmla="*/ 688976 h 819151"/>
                    <a:gd name="connsiteX10" fmla="*/ 19896 w 576262"/>
                    <a:gd name="connsiteY10" fmla="*/ 688976 h 819151"/>
                    <a:gd name="connsiteX11" fmla="*/ 0 w 576262"/>
                    <a:gd name="connsiteY11" fmla="*/ 669493 h 819151"/>
                    <a:gd name="connsiteX12" fmla="*/ 19896 w 576262"/>
                    <a:gd name="connsiteY12" fmla="*/ 649288 h 819151"/>
                    <a:gd name="connsiteX13" fmla="*/ 127000 w 576262"/>
                    <a:gd name="connsiteY13" fmla="*/ 538163 h 819151"/>
                    <a:gd name="connsiteX14" fmla="*/ 136993 w 576262"/>
                    <a:gd name="connsiteY14" fmla="*/ 538163 h 819151"/>
                    <a:gd name="connsiteX15" fmla="*/ 528170 w 576262"/>
                    <a:gd name="connsiteY15" fmla="*/ 538163 h 819151"/>
                    <a:gd name="connsiteX16" fmla="*/ 538163 w 576262"/>
                    <a:gd name="connsiteY16" fmla="*/ 538163 h 819151"/>
                    <a:gd name="connsiteX17" fmla="*/ 523173 w 576262"/>
                    <a:gd name="connsiteY17" fmla="*/ 559209 h 819151"/>
                    <a:gd name="connsiteX18" fmla="*/ 494620 w 576262"/>
                    <a:gd name="connsiteY18" fmla="*/ 588963 h 819151"/>
                    <a:gd name="connsiteX19" fmla="*/ 481057 w 576262"/>
                    <a:gd name="connsiteY19" fmla="*/ 588963 h 819151"/>
                    <a:gd name="connsiteX20" fmla="*/ 183392 w 576262"/>
                    <a:gd name="connsiteY20" fmla="*/ 588963 h 819151"/>
                    <a:gd name="connsiteX21" fmla="*/ 169830 w 576262"/>
                    <a:gd name="connsiteY21" fmla="*/ 588963 h 819151"/>
                    <a:gd name="connsiteX22" fmla="*/ 141990 w 576262"/>
                    <a:gd name="connsiteY22" fmla="*/ 559209 h 819151"/>
                    <a:gd name="connsiteX23" fmla="*/ 127000 w 576262"/>
                    <a:gd name="connsiteY23" fmla="*/ 538163 h 819151"/>
                    <a:gd name="connsiteX24" fmla="*/ 15153 w 576262"/>
                    <a:gd name="connsiteY24" fmla="*/ 520700 h 819151"/>
                    <a:gd name="connsiteX25" fmla="*/ 31750 w 576262"/>
                    <a:gd name="connsiteY25" fmla="*/ 558800 h 819151"/>
                    <a:gd name="connsiteX26" fmla="*/ 20204 w 576262"/>
                    <a:gd name="connsiteY26" fmla="*/ 558800 h 819151"/>
                    <a:gd name="connsiteX27" fmla="*/ 0 w 576262"/>
                    <a:gd name="connsiteY27" fmla="*/ 539045 h 819151"/>
                    <a:gd name="connsiteX28" fmla="*/ 15153 w 576262"/>
                    <a:gd name="connsiteY28" fmla="*/ 520700 h 819151"/>
                    <a:gd name="connsiteX29" fmla="*/ 87312 w 576262"/>
                    <a:gd name="connsiteY29" fmla="*/ 422275 h 819151"/>
                    <a:gd name="connsiteX30" fmla="*/ 95877 w 576262"/>
                    <a:gd name="connsiteY30" fmla="*/ 422275 h 819151"/>
                    <a:gd name="connsiteX31" fmla="*/ 568410 w 576262"/>
                    <a:gd name="connsiteY31" fmla="*/ 422275 h 819151"/>
                    <a:gd name="connsiteX32" fmla="*/ 569838 w 576262"/>
                    <a:gd name="connsiteY32" fmla="*/ 422275 h 819151"/>
                    <a:gd name="connsiteX33" fmla="*/ 576262 w 576262"/>
                    <a:gd name="connsiteY33" fmla="*/ 422275 h 819151"/>
                    <a:gd name="connsiteX34" fmla="*/ 567697 w 576262"/>
                    <a:gd name="connsiteY34" fmla="*/ 473075 h 819151"/>
                    <a:gd name="connsiteX35" fmla="*/ 559131 w 576262"/>
                    <a:gd name="connsiteY35" fmla="*/ 473075 h 819151"/>
                    <a:gd name="connsiteX36" fmla="*/ 104443 w 576262"/>
                    <a:gd name="connsiteY36" fmla="*/ 473075 h 819151"/>
                    <a:gd name="connsiteX37" fmla="*/ 96591 w 576262"/>
                    <a:gd name="connsiteY37" fmla="*/ 473075 h 819151"/>
                    <a:gd name="connsiteX38" fmla="*/ 93736 w 576262"/>
                    <a:gd name="connsiteY38" fmla="*/ 463197 h 819151"/>
                    <a:gd name="connsiteX39" fmla="*/ 88026 w 576262"/>
                    <a:gd name="connsiteY39" fmla="*/ 432153 h 819151"/>
                    <a:gd name="connsiteX40" fmla="*/ 88026 w 576262"/>
                    <a:gd name="connsiteY40" fmla="*/ 428625 h 819151"/>
                    <a:gd name="connsiteX41" fmla="*/ 87312 w 576262"/>
                    <a:gd name="connsiteY41" fmla="*/ 422275 h 819151"/>
                    <a:gd name="connsiteX42" fmla="*/ 107775 w 576262"/>
                    <a:gd name="connsiteY42" fmla="*/ 307975 h 819151"/>
                    <a:gd name="connsiteX43" fmla="*/ 117053 w 576262"/>
                    <a:gd name="connsiteY43" fmla="*/ 307975 h 819151"/>
                    <a:gd name="connsiteX44" fmla="*/ 548110 w 576262"/>
                    <a:gd name="connsiteY44" fmla="*/ 307975 h 819151"/>
                    <a:gd name="connsiteX45" fmla="*/ 556674 w 576262"/>
                    <a:gd name="connsiteY45" fmla="*/ 307975 h 819151"/>
                    <a:gd name="connsiteX46" fmla="*/ 573088 w 576262"/>
                    <a:gd name="connsiteY46" fmla="*/ 358775 h 819151"/>
                    <a:gd name="connsiteX47" fmla="*/ 564524 w 576262"/>
                    <a:gd name="connsiteY47" fmla="*/ 358775 h 819151"/>
                    <a:gd name="connsiteX48" fmla="*/ 100639 w 576262"/>
                    <a:gd name="connsiteY48" fmla="*/ 358775 h 819151"/>
                    <a:gd name="connsiteX49" fmla="*/ 92075 w 576262"/>
                    <a:gd name="connsiteY49" fmla="*/ 358775 h 819151"/>
                    <a:gd name="connsiteX50" fmla="*/ 107775 w 576262"/>
                    <a:gd name="connsiteY50" fmla="*/ 307975 h 819151"/>
                    <a:gd name="connsiteX51" fmla="*/ 19376 w 576262"/>
                    <a:gd name="connsiteY51" fmla="*/ 258763 h 819151"/>
                    <a:gd name="connsiteX52" fmla="*/ 26988 w 576262"/>
                    <a:gd name="connsiteY52" fmla="*/ 258763 h 819151"/>
                    <a:gd name="connsiteX53" fmla="*/ 26296 w 576262"/>
                    <a:gd name="connsiteY53" fmla="*/ 259482 h 819151"/>
                    <a:gd name="connsiteX54" fmla="*/ 23528 w 576262"/>
                    <a:gd name="connsiteY54" fmla="*/ 265233 h 819151"/>
                    <a:gd name="connsiteX55" fmla="*/ 11764 w 576262"/>
                    <a:gd name="connsiteY55" fmla="*/ 296863 h 819151"/>
                    <a:gd name="connsiteX56" fmla="*/ 0 w 576262"/>
                    <a:gd name="connsiteY56" fmla="*/ 278891 h 819151"/>
                    <a:gd name="connsiteX57" fmla="*/ 19376 w 576262"/>
                    <a:gd name="connsiteY57" fmla="*/ 258763 h 819151"/>
                    <a:gd name="connsiteX58" fmla="*/ 207513 w 576262"/>
                    <a:gd name="connsiteY58" fmla="*/ 195263 h 819151"/>
                    <a:gd name="connsiteX59" fmla="*/ 226809 w 576262"/>
                    <a:gd name="connsiteY59" fmla="*/ 195263 h 819151"/>
                    <a:gd name="connsiteX60" fmla="*/ 438354 w 576262"/>
                    <a:gd name="connsiteY60" fmla="*/ 195263 h 819151"/>
                    <a:gd name="connsiteX61" fmla="*/ 456936 w 576262"/>
                    <a:gd name="connsiteY61" fmla="*/ 195263 h 819151"/>
                    <a:gd name="connsiteX62" fmla="*/ 506249 w 576262"/>
                    <a:gd name="connsiteY62" fmla="*/ 233363 h 819151"/>
                    <a:gd name="connsiteX63" fmla="*/ 509822 w 576262"/>
                    <a:gd name="connsiteY63" fmla="*/ 236185 h 819151"/>
                    <a:gd name="connsiteX64" fmla="*/ 519113 w 576262"/>
                    <a:gd name="connsiteY64" fmla="*/ 246063 h 819151"/>
                    <a:gd name="connsiteX65" fmla="*/ 506249 w 576262"/>
                    <a:gd name="connsiteY65" fmla="*/ 246063 h 819151"/>
                    <a:gd name="connsiteX66" fmla="*/ 158200 w 576262"/>
                    <a:gd name="connsiteY66" fmla="*/ 246063 h 819151"/>
                    <a:gd name="connsiteX67" fmla="*/ 146050 w 576262"/>
                    <a:gd name="connsiteY67" fmla="*/ 246063 h 819151"/>
                    <a:gd name="connsiteX68" fmla="*/ 155341 w 576262"/>
                    <a:gd name="connsiteY68" fmla="*/ 236185 h 819151"/>
                    <a:gd name="connsiteX69" fmla="*/ 175352 w 576262"/>
                    <a:gd name="connsiteY69" fmla="*/ 217841 h 819151"/>
                    <a:gd name="connsiteX70" fmla="*/ 207513 w 576262"/>
                    <a:gd name="connsiteY70" fmla="*/ 195263 h 819151"/>
                    <a:gd name="connsiteX71" fmla="*/ 527050 w 576262"/>
                    <a:gd name="connsiteY71" fmla="*/ 130175 h 819151"/>
                    <a:gd name="connsiteX72" fmla="*/ 554772 w 576262"/>
                    <a:gd name="connsiteY72" fmla="*/ 130175 h 819151"/>
                    <a:gd name="connsiteX73" fmla="*/ 574675 w 576262"/>
                    <a:gd name="connsiteY73" fmla="*/ 148927 h 819151"/>
                    <a:gd name="connsiteX74" fmla="*/ 568278 w 576262"/>
                    <a:gd name="connsiteY74" fmla="*/ 163513 h 819151"/>
                    <a:gd name="connsiteX75" fmla="*/ 537713 w 576262"/>
                    <a:gd name="connsiteY75" fmla="*/ 137815 h 819151"/>
                    <a:gd name="connsiteX76" fmla="*/ 527050 w 576262"/>
                    <a:gd name="connsiteY76" fmla="*/ 130175 h 819151"/>
                    <a:gd name="connsiteX77" fmla="*/ 20037 w 576262"/>
                    <a:gd name="connsiteY77" fmla="*/ 130175 h 819151"/>
                    <a:gd name="connsiteX78" fmla="*/ 138113 w 576262"/>
                    <a:gd name="connsiteY78" fmla="*/ 130175 h 819151"/>
                    <a:gd name="connsiteX79" fmla="*/ 127379 w 576262"/>
                    <a:gd name="connsiteY79" fmla="*/ 137795 h 819151"/>
                    <a:gd name="connsiteX80" fmla="*/ 98754 w 576262"/>
                    <a:gd name="connsiteY80" fmla="*/ 161348 h 819151"/>
                    <a:gd name="connsiteX81" fmla="*/ 91598 w 576262"/>
                    <a:gd name="connsiteY81" fmla="*/ 168275 h 819151"/>
                    <a:gd name="connsiteX82" fmla="*/ 20037 w 576262"/>
                    <a:gd name="connsiteY82" fmla="*/ 168275 h 819151"/>
                    <a:gd name="connsiteX83" fmla="*/ 0 w 576262"/>
                    <a:gd name="connsiteY83" fmla="*/ 148879 h 819151"/>
                    <a:gd name="connsiteX84" fmla="*/ 20037 w 576262"/>
                    <a:gd name="connsiteY84" fmla="*/ 130175 h 819151"/>
                    <a:gd name="connsiteX85" fmla="*/ 19964 w 576262"/>
                    <a:gd name="connsiteY85" fmla="*/ 0 h 819151"/>
                    <a:gd name="connsiteX86" fmla="*/ 554711 w 576262"/>
                    <a:gd name="connsiteY86" fmla="*/ 0 h 819151"/>
                    <a:gd name="connsiteX87" fmla="*/ 574675 w 576262"/>
                    <a:gd name="connsiteY87" fmla="*/ 20205 h 819151"/>
                    <a:gd name="connsiteX88" fmla="*/ 554711 w 576262"/>
                    <a:gd name="connsiteY88" fmla="*/ 39688 h 819151"/>
                    <a:gd name="connsiteX89" fmla="*/ 19964 w 576262"/>
                    <a:gd name="connsiteY89" fmla="*/ 39688 h 819151"/>
                    <a:gd name="connsiteX90" fmla="*/ 0 w 576262"/>
                    <a:gd name="connsiteY90" fmla="*/ 20205 h 819151"/>
                    <a:gd name="connsiteX91" fmla="*/ 19964 w 576262"/>
                    <a:gd name="connsiteY91" fmla="*/ 0 h 8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76262" h="819151">
                      <a:moveTo>
                        <a:pt x="19964" y="779463"/>
                      </a:moveTo>
                      <a:cubicBezTo>
                        <a:pt x="554711" y="779463"/>
                        <a:pt x="554711" y="779463"/>
                        <a:pt x="554711" y="779463"/>
                      </a:cubicBezTo>
                      <a:cubicBezTo>
                        <a:pt x="566832" y="779463"/>
                        <a:pt x="574675" y="788122"/>
                        <a:pt x="574675" y="798946"/>
                      </a:cubicBezTo>
                      <a:cubicBezTo>
                        <a:pt x="574675" y="809770"/>
                        <a:pt x="566832" y="819151"/>
                        <a:pt x="554711" y="819151"/>
                      </a:cubicBezTo>
                      <a:cubicBezTo>
                        <a:pt x="19964" y="819151"/>
                        <a:pt x="19964" y="819151"/>
                        <a:pt x="19964" y="819151"/>
                      </a:cubicBezTo>
                      <a:cubicBezTo>
                        <a:pt x="9269" y="819151"/>
                        <a:pt x="0" y="809770"/>
                        <a:pt x="0" y="798946"/>
                      </a:cubicBezTo>
                      <a:cubicBezTo>
                        <a:pt x="0" y="788122"/>
                        <a:pt x="9269" y="779463"/>
                        <a:pt x="19964" y="779463"/>
                      </a:cubicBezTo>
                      <a:close/>
                      <a:moveTo>
                        <a:pt x="19896" y="649288"/>
                      </a:moveTo>
                      <a:cubicBezTo>
                        <a:pt x="47610" y="649288"/>
                        <a:pt x="73902" y="649288"/>
                        <a:pt x="99483" y="649288"/>
                      </a:cubicBezTo>
                      <a:cubicBezTo>
                        <a:pt x="115116" y="664442"/>
                        <a:pt x="131460" y="677431"/>
                        <a:pt x="149225" y="688976"/>
                      </a:cubicBezTo>
                      <a:cubicBezTo>
                        <a:pt x="19896" y="688976"/>
                        <a:pt x="19896" y="688976"/>
                        <a:pt x="19896" y="688976"/>
                      </a:cubicBezTo>
                      <a:cubicBezTo>
                        <a:pt x="9237" y="688976"/>
                        <a:pt x="0" y="681039"/>
                        <a:pt x="0" y="669493"/>
                      </a:cubicBezTo>
                      <a:cubicBezTo>
                        <a:pt x="0" y="658669"/>
                        <a:pt x="9237" y="649288"/>
                        <a:pt x="19896" y="649288"/>
                      </a:cubicBezTo>
                      <a:close/>
                      <a:moveTo>
                        <a:pt x="127000" y="538163"/>
                      </a:moveTo>
                      <a:cubicBezTo>
                        <a:pt x="127000" y="538163"/>
                        <a:pt x="127000" y="538163"/>
                        <a:pt x="136993" y="538163"/>
                      </a:cubicBezTo>
                      <a:cubicBezTo>
                        <a:pt x="136993" y="538163"/>
                        <a:pt x="136993" y="538163"/>
                        <a:pt x="528170" y="538163"/>
                      </a:cubicBezTo>
                      <a:cubicBezTo>
                        <a:pt x="528170" y="538163"/>
                        <a:pt x="528170" y="538163"/>
                        <a:pt x="538163" y="538163"/>
                      </a:cubicBezTo>
                      <a:cubicBezTo>
                        <a:pt x="533166" y="545420"/>
                        <a:pt x="528170" y="552677"/>
                        <a:pt x="523173" y="559209"/>
                      </a:cubicBezTo>
                      <a:cubicBezTo>
                        <a:pt x="514607" y="570095"/>
                        <a:pt x="504613" y="580255"/>
                        <a:pt x="494620" y="588963"/>
                      </a:cubicBezTo>
                      <a:cubicBezTo>
                        <a:pt x="494620" y="588963"/>
                        <a:pt x="494620" y="588963"/>
                        <a:pt x="481057" y="588963"/>
                      </a:cubicBezTo>
                      <a:cubicBezTo>
                        <a:pt x="481057" y="588963"/>
                        <a:pt x="481057" y="588963"/>
                        <a:pt x="183392" y="588963"/>
                      </a:cubicBezTo>
                      <a:cubicBezTo>
                        <a:pt x="183392" y="588963"/>
                        <a:pt x="183392" y="588963"/>
                        <a:pt x="169830" y="588963"/>
                      </a:cubicBezTo>
                      <a:cubicBezTo>
                        <a:pt x="159836" y="580255"/>
                        <a:pt x="150556" y="570095"/>
                        <a:pt x="141990" y="559209"/>
                      </a:cubicBezTo>
                      <a:cubicBezTo>
                        <a:pt x="136279" y="552677"/>
                        <a:pt x="131283" y="545420"/>
                        <a:pt x="127000" y="538163"/>
                      </a:cubicBezTo>
                      <a:close/>
                      <a:moveTo>
                        <a:pt x="15153" y="520700"/>
                      </a:moveTo>
                      <a:cubicBezTo>
                        <a:pt x="19483" y="533400"/>
                        <a:pt x="25255" y="546100"/>
                        <a:pt x="31750" y="558800"/>
                      </a:cubicBezTo>
                      <a:cubicBezTo>
                        <a:pt x="20204" y="558800"/>
                        <a:pt x="20204" y="558800"/>
                        <a:pt x="20204" y="558800"/>
                      </a:cubicBezTo>
                      <a:cubicBezTo>
                        <a:pt x="9380" y="558800"/>
                        <a:pt x="0" y="549628"/>
                        <a:pt x="0" y="539045"/>
                      </a:cubicBezTo>
                      <a:cubicBezTo>
                        <a:pt x="0" y="530578"/>
                        <a:pt x="6494" y="522817"/>
                        <a:pt x="15153" y="520700"/>
                      </a:cubicBezTo>
                      <a:close/>
                      <a:moveTo>
                        <a:pt x="87312" y="422275"/>
                      </a:moveTo>
                      <a:cubicBezTo>
                        <a:pt x="87312" y="422275"/>
                        <a:pt x="87312" y="422275"/>
                        <a:pt x="95877" y="422275"/>
                      </a:cubicBezTo>
                      <a:cubicBezTo>
                        <a:pt x="95877" y="422275"/>
                        <a:pt x="95877" y="422275"/>
                        <a:pt x="568410" y="422275"/>
                      </a:cubicBezTo>
                      <a:lnTo>
                        <a:pt x="569838" y="422275"/>
                      </a:lnTo>
                      <a:cubicBezTo>
                        <a:pt x="569838" y="422275"/>
                        <a:pt x="569838" y="422275"/>
                        <a:pt x="576262" y="422275"/>
                      </a:cubicBezTo>
                      <a:cubicBezTo>
                        <a:pt x="575548" y="439914"/>
                        <a:pt x="571979" y="456847"/>
                        <a:pt x="567697" y="473075"/>
                      </a:cubicBezTo>
                      <a:cubicBezTo>
                        <a:pt x="567697" y="473075"/>
                        <a:pt x="567697" y="473075"/>
                        <a:pt x="559131" y="473075"/>
                      </a:cubicBezTo>
                      <a:cubicBezTo>
                        <a:pt x="559131" y="473075"/>
                        <a:pt x="559131" y="473075"/>
                        <a:pt x="104443" y="473075"/>
                      </a:cubicBezTo>
                      <a:cubicBezTo>
                        <a:pt x="104443" y="473075"/>
                        <a:pt x="104443" y="473075"/>
                        <a:pt x="96591" y="473075"/>
                      </a:cubicBezTo>
                      <a:cubicBezTo>
                        <a:pt x="95877" y="469547"/>
                        <a:pt x="94450" y="466725"/>
                        <a:pt x="93736" y="463197"/>
                      </a:cubicBezTo>
                      <a:cubicBezTo>
                        <a:pt x="91595" y="453320"/>
                        <a:pt x="89453" y="442736"/>
                        <a:pt x="88026" y="432153"/>
                      </a:cubicBezTo>
                      <a:cubicBezTo>
                        <a:pt x="88026" y="430742"/>
                        <a:pt x="88026" y="429331"/>
                        <a:pt x="88026" y="428625"/>
                      </a:cubicBezTo>
                      <a:cubicBezTo>
                        <a:pt x="88026" y="426508"/>
                        <a:pt x="87312" y="424392"/>
                        <a:pt x="87312" y="422275"/>
                      </a:cubicBezTo>
                      <a:close/>
                      <a:moveTo>
                        <a:pt x="107775" y="307975"/>
                      </a:moveTo>
                      <a:cubicBezTo>
                        <a:pt x="107775" y="307975"/>
                        <a:pt x="107775" y="307975"/>
                        <a:pt x="117053" y="307975"/>
                      </a:cubicBezTo>
                      <a:cubicBezTo>
                        <a:pt x="117053" y="307975"/>
                        <a:pt x="117053" y="307975"/>
                        <a:pt x="548110" y="307975"/>
                      </a:cubicBezTo>
                      <a:cubicBezTo>
                        <a:pt x="548110" y="307975"/>
                        <a:pt x="548110" y="307975"/>
                        <a:pt x="556674" y="307975"/>
                      </a:cubicBezTo>
                      <a:cubicBezTo>
                        <a:pt x="563811" y="324203"/>
                        <a:pt x="569520" y="341136"/>
                        <a:pt x="573088" y="358775"/>
                      </a:cubicBezTo>
                      <a:cubicBezTo>
                        <a:pt x="573088" y="358775"/>
                        <a:pt x="573088" y="358775"/>
                        <a:pt x="564524" y="358775"/>
                      </a:cubicBezTo>
                      <a:lnTo>
                        <a:pt x="100639" y="358775"/>
                      </a:lnTo>
                      <a:cubicBezTo>
                        <a:pt x="100639" y="358775"/>
                        <a:pt x="100639" y="358775"/>
                        <a:pt x="92075" y="358775"/>
                      </a:cubicBezTo>
                      <a:cubicBezTo>
                        <a:pt x="95643" y="341136"/>
                        <a:pt x="100639" y="324203"/>
                        <a:pt x="107775" y="307975"/>
                      </a:cubicBezTo>
                      <a:close/>
                      <a:moveTo>
                        <a:pt x="19376" y="258763"/>
                      </a:moveTo>
                      <a:cubicBezTo>
                        <a:pt x="21452" y="258763"/>
                        <a:pt x="24220" y="258763"/>
                        <a:pt x="26988" y="258763"/>
                      </a:cubicBezTo>
                      <a:cubicBezTo>
                        <a:pt x="26988" y="258763"/>
                        <a:pt x="26988" y="258763"/>
                        <a:pt x="26296" y="259482"/>
                      </a:cubicBezTo>
                      <a:cubicBezTo>
                        <a:pt x="26296" y="259482"/>
                        <a:pt x="26296" y="259482"/>
                        <a:pt x="23528" y="265233"/>
                      </a:cubicBezTo>
                      <a:cubicBezTo>
                        <a:pt x="19376" y="276016"/>
                        <a:pt x="15224" y="286080"/>
                        <a:pt x="11764" y="296863"/>
                      </a:cubicBezTo>
                      <a:cubicBezTo>
                        <a:pt x="4844" y="293988"/>
                        <a:pt x="0" y="286799"/>
                        <a:pt x="0" y="278891"/>
                      </a:cubicBezTo>
                      <a:cubicBezTo>
                        <a:pt x="0" y="268108"/>
                        <a:pt x="8996" y="258763"/>
                        <a:pt x="19376" y="258763"/>
                      </a:cubicBezTo>
                      <a:close/>
                      <a:moveTo>
                        <a:pt x="207513" y="195263"/>
                      </a:moveTo>
                      <a:cubicBezTo>
                        <a:pt x="207513" y="195263"/>
                        <a:pt x="207513" y="195263"/>
                        <a:pt x="226809" y="195263"/>
                      </a:cubicBezTo>
                      <a:cubicBezTo>
                        <a:pt x="226809" y="195263"/>
                        <a:pt x="226809" y="195263"/>
                        <a:pt x="438354" y="195263"/>
                      </a:cubicBezTo>
                      <a:cubicBezTo>
                        <a:pt x="438354" y="195263"/>
                        <a:pt x="438354" y="195263"/>
                        <a:pt x="456936" y="195263"/>
                      </a:cubicBezTo>
                      <a:cubicBezTo>
                        <a:pt x="475518" y="205846"/>
                        <a:pt x="491955" y="218546"/>
                        <a:pt x="506249" y="233363"/>
                      </a:cubicBezTo>
                      <a:cubicBezTo>
                        <a:pt x="507678" y="234069"/>
                        <a:pt x="508393" y="235480"/>
                        <a:pt x="509822" y="236185"/>
                      </a:cubicBezTo>
                      <a:cubicBezTo>
                        <a:pt x="512681" y="239713"/>
                        <a:pt x="515540" y="243241"/>
                        <a:pt x="519113" y="246063"/>
                      </a:cubicBezTo>
                      <a:lnTo>
                        <a:pt x="506249" y="246063"/>
                      </a:lnTo>
                      <a:cubicBezTo>
                        <a:pt x="506249" y="246063"/>
                        <a:pt x="506249" y="246063"/>
                        <a:pt x="158200" y="246063"/>
                      </a:cubicBezTo>
                      <a:cubicBezTo>
                        <a:pt x="158200" y="246063"/>
                        <a:pt x="158200" y="246063"/>
                        <a:pt x="146050" y="246063"/>
                      </a:cubicBezTo>
                      <a:cubicBezTo>
                        <a:pt x="148909" y="243241"/>
                        <a:pt x="151768" y="239713"/>
                        <a:pt x="155341" y="236185"/>
                      </a:cubicBezTo>
                      <a:cubicBezTo>
                        <a:pt x="161773" y="229835"/>
                        <a:pt x="168205" y="223485"/>
                        <a:pt x="175352" y="217841"/>
                      </a:cubicBezTo>
                      <a:cubicBezTo>
                        <a:pt x="185358" y="209374"/>
                        <a:pt x="196078" y="202319"/>
                        <a:pt x="207513" y="195263"/>
                      </a:cubicBezTo>
                      <a:close/>
                      <a:moveTo>
                        <a:pt x="527050" y="130175"/>
                      </a:moveTo>
                      <a:cubicBezTo>
                        <a:pt x="554772" y="130175"/>
                        <a:pt x="554772" y="130175"/>
                        <a:pt x="554772" y="130175"/>
                      </a:cubicBezTo>
                      <a:cubicBezTo>
                        <a:pt x="566856" y="130175"/>
                        <a:pt x="574675" y="138509"/>
                        <a:pt x="574675" y="148927"/>
                      </a:cubicBezTo>
                      <a:cubicBezTo>
                        <a:pt x="574675" y="154484"/>
                        <a:pt x="571832" y="160040"/>
                        <a:pt x="568278" y="163513"/>
                      </a:cubicBezTo>
                      <a:cubicBezTo>
                        <a:pt x="558326" y="153789"/>
                        <a:pt x="548375" y="145455"/>
                        <a:pt x="537713" y="137815"/>
                      </a:cubicBezTo>
                      <a:cubicBezTo>
                        <a:pt x="534158" y="135037"/>
                        <a:pt x="530604" y="132258"/>
                        <a:pt x="527050" y="130175"/>
                      </a:cubicBezTo>
                      <a:close/>
                      <a:moveTo>
                        <a:pt x="20037" y="130175"/>
                      </a:moveTo>
                      <a:cubicBezTo>
                        <a:pt x="62258" y="130175"/>
                        <a:pt x="101617" y="130175"/>
                        <a:pt x="138113" y="130175"/>
                      </a:cubicBezTo>
                      <a:cubicBezTo>
                        <a:pt x="134535" y="132253"/>
                        <a:pt x="130241" y="135024"/>
                        <a:pt x="127379" y="137795"/>
                      </a:cubicBezTo>
                      <a:cubicBezTo>
                        <a:pt x="115213" y="146108"/>
                        <a:pt x="106626" y="153728"/>
                        <a:pt x="98754" y="161348"/>
                      </a:cubicBezTo>
                      <a:cubicBezTo>
                        <a:pt x="96607" y="163426"/>
                        <a:pt x="94460" y="165504"/>
                        <a:pt x="91598" y="168275"/>
                      </a:cubicBezTo>
                      <a:cubicBezTo>
                        <a:pt x="20037" y="168275"/>
                        <a:pt x="20037" y="168275"/>
                        <a:pt x="20037" y="168275"/>
                      </a:cubicBezTo>
                      <a:cubicBezTo>
                        <a:pt x="9303" y="168275"/>
                        <a:pt x="0" y="159269"/>
                        <a:pt x="0" y="148879"/>
                      </a:cubicBezTo>
                      <a:cubicBezTo>
                        <a:pt x="0" y="138488"/>
                        <a:pt x="9303" y="130175"/>
                        <a:pt x="20037" y="130175"/>
                      </a:cubicBezTo>
                      <a:close/>
                      <a:moveTo>
                        <a:pt x="19964" y="0"/>
                      </a:moveTo>
                      <a:cubicBezTo>
                        <a:pt x="554711" y="0"/>
                        <a:pt x="554711" y="0"/>
                        <a:pt x="554711" y="0"/>
                      </a:cubicBezTo>
                      <a:cubicBezTo>
                        <a:pt x="566832" y="0"/>
                        <a:pt x="574675" y="7937"/>
                        <a:pt x="574675" y="20205"/>
                      </a:cubicBezTo>
                      <a:cubicBezTo>
                        <a:pt x="574675" y="31029"/>
                        <a:pt x="566832" y="39688"/>
                        <a:pt x="554711" y="39688"/>
                      </a:cubicBezTo>
                      <a:cubicBezTo>
                        <a:pt x="19964" y="39688"/>
                        <a:pt x="19964" y="39688"/>
                        <a:pt x="19964" y="39688"/>
                      </a:cubicBezTo>
                      <a:cubicBezTo>
                        <a:pt x="9269" y="39688"/>
                        <a:pt x="0" y="31029"/>
                        <a:pt x="0" y="20205"/>
                      </a:cubicBezTo>
                      <a:cubicBezTo>
                        <a:pt x="0" y="7937"/>
                        <a:pt x="9269" y="0"/>
                        <a:pt x="19964" y="0"/>
                      </a:cubicBezTo>
                      <a:close/>
                    </a:path>
                  </a:pathLst>
                </a:custGeom>
                <a:solidFill>
                  <a:srgbClr val="0A3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grpSp>
      <p:sp>
        <p:nvSpPr>
          <p:cNvPr id="47" name="Oval 20">
            <a:extLst>
              <a:ext uri="{FF2B5EF4-FFF2-40B4-BE49-F238E27FC236}">
                <a16:creationId xmlns:a16="http://schemas.microsoft.com/office/drawing/2014/main" id="{2E1EED20-5566-4F71-A2BC-0C2E121E0AAA}"/>
              </a:ext>
            </a:extLst>
          </p:cNvPr>
          <p:cNvSpPr>
            <a:spLocks noChangeAspect="1" noChangeArrowheads="1"/>
          </p:cNvSpPr>
          <p:nvPr/>
        </p:nvSpPr>
        <p:spPr bwMode="auto">
          <a:xfrm>
            <a:off x="2918782" y="2277846"/>
            <a:ext cx="306910" cy="306910"/>
          </a:xfrm>
          <a:prstGeom prst="ellipse">
            <a:avLst/>
          </a:prstGeom>
          <a:solidFill>
            <a:srgbClr val="12284C">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100000"/>
                  </a:srgbClr>
                </a:solidFill>
                <a:effectLst/>
                <a:uLnTx/>
                <a:uFillTx/>
                <a:latin typeface="Open Sans"/>
                <a:ea typeface="+mn-ea"/>
                <a:cs typeface="+mn-cs"/>
              </a:rPr>
              <a:t>2</a:t>
            </a:r>
          </a:p>
        </p:txBody>
      </p:sp>
      <p:sp>
        <p:nvSpPr>
          <p:cNvPr id="50" name="Rectangle: Rounded Corners 49">
            <a:extLst>
              <a:ext uri="{FF2B5EF4-FFF2-40B4-BE49-F238E27FC236}">
                <a16:creationId xmlns:a16="http://schemas.microsoft.com/office/drawing/2014/main" id="{AA4020C8-7DAD-4D21-9C16-4756EBD5B193}"/>
              </a:ext>
            </a:extLst>
          </p:cNvPr>
          <p:cNvSpPr/>
          <p:nvPr/>
        </p:nvSpPr>
        <p:spPr>
          <a:xfrm>
            <a:off x="4492953" y="2948095"/>
            <a:ext cx="2259806" cy="2428907"/>
          </a:xfrm>
          <a:prstGeom prst="roundRect">
            <a:avLst/>
          </a:prstGeom>
          <a:solidFill>
            <a:schemeClr val="accent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Application review </a:t>
            </a:r>
            <a:r>
              <a:rPr kumimoji="0" lang="en-US" sz="1600" b="0" i="0" u="none" strike="noStrike" kern="1200" cap="none" spc="0" normalizeH="0" baseline="0" noProof="0" dirty="0">
                <a:ln>
                  <a:noFill/>
                </a:ln>
                <a:solidFill>
                  <a:srgbClr val="000000"/>
                </a:solidFill>
                <a:effectLst/>
                <a:uLnTx/>
                <a:uFillTx/>
                <a:latin typeface="Open Sans"/>
                <a:ea typeface="+mn-ea"/>
                <a:cs typeface="+mn-cs"/>
              </a:rPr>
              <a:t>to assess relative poverty level, degree of COVID-related need, and potential impact of requested investments</a:t>
            </a:r>
          </a:p>
        </p:txBody>
      </p:sp>
      <p:sp>
        <p:nvSpPr>
          <p:cNvPr id="63" name="Oval 62">
            <a:extLst>
              <a:ext uri="{FF2B5EF4-FFF2-40B4-BE49-F238E27FC236}">
                <a16:creationId xmlns:a16="http://schemas.microsoft.com/office/drawing/2014/main" id="{2C9D892F-BECB-432D-A82C-A0DA1A8C462E}"/>
              </a:ext>
            </a:extLst>
          </p:cNvPr>
          <p:cNvSpPr/>
          <p:nvPr/>
        </p:nvSpPr>
        <p:spPr>
          <a:xfrm>
            <a:off x="5382217" y="2670426"/>
            <a:ext cx="481278" cy="481278"/>
          </a:xfrm>
          <a:prstGeom prst="ellipse">
            <a:avLst/>
          </a:prstGeom>
          <a:solidFill>
            <a:srgbClr val="FFFFFF"/>
          </a:solidFill>
          <a:ln w="19050" cap="rnd" cmpd="sng" algn="ctr">
            <a:solidFill>
              <a:srgbClr val="EDAE1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58" name="Group 57">
            <a:extLst>
              <a:ext uri="{FF2B5EF4-FFF2-40B4-BE49-F238E27FC236}">
                <a16:creationId xmlns:a16="http://schemas.microsoft.com/office/drawing/2014/main" id="{124A9A61-74EB-4C25-88B1-8F5CAE00B39F}"/>
              </a:ext>
            </a:extLst>
          </p:cNvPr>
          <p:cNvGrpSpPr>
            <a:grpSpLocks noChangeAspect="1"/>
          </p:cNvGrpSpPr>
          <p:nvPr/>
        </p:nvGrpSpPr>
        <p:grpSpPr>
          <a:xfrm>
            <a:off x="5413666" y="2689542"/>
            <a:ext cx="418380" cy="418380"/>
            <a:chOff x="5273675" y="2606675"/>
            <a:chExt cx="1644650" cy="1644650"/>
          </a:xfrm>
        </p:grpSpPr>
        <p:sp>
          <p:nvSpPr>
            <p:cNvPr id="59" name="AutoShape 3">
              <a:extLst>
                <a:ext uri="{FF2B5EF4-FFF2-40B4-BE49-F238E27FC236}">
                  <a16:creationId xmlns:a16="http://schemas.microsoft.com/office/drawing/2014/main" id="{19C52C58-2DF0-4DC7-A70D-3F20F45469F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nvGrpSpPr>
            <p:cNvPr id="60" name="Group 59">
              <a:extLst>
                <a:ext uri="{FF2B5EF4-FFF2-40B4-BE49-F238E27FC236}">
                  <a16:creationId xmlns:a16="http://schemas.microsoft.com/office/drawing/2014/main" id="{C0355473-877B-4349-A83D-F3762B3E86A6}"/>
                </a:ext>
              </a:extLst>
            </p:cNvPr>
            <p:cNvGrpSpPr/>
            <p:nvPr/>
          </p:nvGrpSpPr>
          <p:grpSpPr>
            <a:xfrm>
              <a:off x="5441950" y="2876549"/>
              <a:ext cx="1308101" cy="1096857"/>
              <a:chOff x="5441950" y="2876549"/>
              <a:chExt cx="1308101" cy="1096857"/>
            </a:xfrm>
          </p:grpSpPr>
          <p:sp>
            <p:nvSpPr>
              <p:cNvPr id="61" name="Freeform 10">
                <a:extLst>
                  <a:ext uri="{FF2B5EF4-FFF2-40B4-BE49-F238E27FC236}">
                    <a16:creationId xmlns:a16="http://schemas.microsoft.com/office/drawing/2014/main" id="{C05F9A06-E5DD-45A0-916C-D7DC753EE643}"/>
                  </a:ext>
                </a:extLst>
              </p:cNvPr>
              <p:cNvSpPr>
                <a:spLocks/>
              </p:cNvSpPr>
              <p:nvPr/>
            </p:nvSpPr>
            <p:spPr bwMode="auto">
              <a:xfrm>
                <a:off x="5441950" y="3078163"/>
                <a:ext cx="341313" cy="895243"/>
              </a:xfrm>
              <a:custGeom>
                <a:avLst/>
                <a:gdLst>
                  <a:gd name="connsiteX0" fmla="*/ 0 w 341313"/>
                  <a:gd name="connsiteY0" fmla="*/ 468312 h 895243"/>
                  <a:gd name="connsiteX1" fmla="*/ 223547 w 341313"/>
                  <a:gd name="connsiteY1" fmla="*/ 468312 h 895243"/>
                  <a:gd name="connsiteX2" fmla="*/ 224261 w 341313"/>
                  <a:gd name="connsiteY2" fmla="*/ 488315 h 895243"/>
                  <a:gd name="connsiteX3" fmla="*/ 227832 w 341313"/>
                  <a:gd name="connsiteY3" fmla="*/ 517604 h 895243"/>
                  <a:gd name="connsiteX4" fmla="*/ 233546 w 341313"/>
                  <a:gd name="connsiteY4" fmla="*/ 546179 h 895243"/>
                  <a:gd name="connsiteX5" fmla="*/ 237831 w 341313"/>
                  <a:gd name="connsiteY5" fmla="*/ 565467 h 895243"/>
                  <a:gd name="connsiteX6" fmla="*/ 243545 w 341313"/>
                  <a:gd name="connsiteY6" fmla="*/ 584041 h 895243"/>
                  <a:gd name="connsiteX7" fmla="*/ 249973 w 341313"/>
                  <a:gd name="connsiteY7" fmla="*/ 602615 h 895243"/>
                  <a:gd name="connsiteX8" fmla="*/ 264257 w 341313"/>
                  <a:gd name="connsiteY8" fmla="*/ 636905 h 895243"/>
                  <a:gd name="connsiteX9" fmla="*/ 272827 w 341313"/>
                  <a:gd name="connsiteY9" fmla="*/ 653335 h 895243"/>
                  <a:gd name="connsiteX10" fmla="*/ 277112 w 341313"/>
                  <a:gd name="connsiteY10" fmla="*/ 661193 h 895243"/>
                  <a:gd name="connsiteX11" fmla="*/ 287111 w 341313"/>
                  <a:gd name="connsiteY11" fmla="*/ 678338 h 895243"/>
                  <a:gd name="connsiteX12" fmla="*/ 329250 w 341313"/>
                  <a:gd name="connsiteY12" fmla="*/ 734774 h 895243"/>
                  <a:gd name="connsiteX13" fmla="*/ 329250 w 341313"/>
                  <a:gd name="connsiteY13" fmla="*/ 756205 h 895243"/>
                  <a:gd name="connsiteX14" fmla="*/ 192836 w 341313"/>
                  <a:gd name="connsiteY14" fmla="*/ 890508 h 895243"/>
                  <a:gd name="connsiteX15" fmla="*/ 169981 w 341313"/>
                  <a:gd name="connsiteY15" fmla="*/ 889793 h 895243"/>
                  <a:gd name="connsiteX16" fmla="*/ 84277 w 341313"/>
                  <a:gd name="connsiteY16" fmla="*/ 772636 h 895243"/>
                  <a:gd name="connsiteX17" fmla="*/ 77135 w 341313"/>
                  <a:gd name="connsiteY17" fmla="*/ 759777 h 895243"/>
                  <a:gd name="connsiteX18" fmla="*/ 63565 w 341313"/>
                  <a:gd name="connsiteY18" fmla="*/ 733345 h 895243"/>
                  <a:gd name="connsiteX19" fmla="*/ 57137 w 341313"/>
                  <a:gd name="connsiteY19" fmla="*/ 719772 h 895243"/>
                  <a:gd name="connsiteX20" fmla="*/ 45709 w 341313"/>
                  <a:gd name="connsiteY20" fmla="*/ 691912 h 895243"/>
                  <a:gd name="connsiteX21" fmla="*/ 30711 w 341313"/>
                  <a:gd name="connsiteY21" fmla="*/ 649049 h 895243"/>
                  <a:gd name="connsiteX22" fmla="*/ 22141 w 341313"/>
                  <a:gd name="connsiteY22" fmla="*/ 620474 h 895243"/>
                  <a:gd name="connsiteX23" fmla="*/ 18570 w 341313"/>
                  <a:gd name="connsiteY23" fmla="*/ 606901 h 895243"/>
                  <a:gd name="connsiteX24" fmla="*/ 11428 w 341313"/>
                  <a:gd name="connsiteY24" fmla="*/ 576897 h 895243"/>
                  <a:gd name="connsiteX25" fmla="*/ 6428 w 341313"/>
                  <a:gd name="connsiteY25" fmla="*/ 545465 h 895243"/>
                  <a:gd name="connsiteX26" fmla="*/ 2857 w 341313"/>
                  <a:gd name="connsiteY26" fmla="*/ 514747 h 895243"/>
                  <a:gd name="connsiteX27" fmla="*/ 1429 w 341313"/>
                  <a:gd name="connsiteY27" fmla="*/ 499745 h 895243"/>
                  <a:gd name="connsiteX28" fmla="*/ 0 w 341313"/>
                  <a:gd name="connsiteY28" fmla="*/ 468312 h 895243"/>
                  <a:gd name="connsiteX29" fmla="*/ 182081 w 341313"/>
                  <a:gd name="connsiteY29" fmla="*/ 0 h 895243"/>
                  <a:gd name="connsiteX30" fmla="*/ 341313 w 341313"/>
                  <a:gd name="connsiteY30" fmla="*/ 158103 h 895243"/>
                  <a:gd name="connsiteX31" fmla="*/ 264911 w 341313"/>
                  <a:gd name="connsiteY31" fmla="*/ 266353 h 895243"/>
                  <a:gd name="connsiteX32" fmla="*/ 257056 w 341313"/>
                  <a:gd name="connsiteY32" fmla="*/ 284158 h 895243"/>
                  <a:gd name="connsiteX33" fmla="*/ 250630 w 341313"/>
                  <a:gd name="connsiteY33" fmla="*/ 301250 h 895243"/>
                  <a:gd name="connsiteX34" fmla="*/ 244203 w 341313"/>
                  <a:gd name="connsiteY34" fmla="*/ 319767 h 895243"/>
                  <a:gd name="connsiteX35" fmla="*/ 241347 w 341313"/>
                  <a:gd name="connsiteY35" fmla="*/ 329025 h 895243"/>
                  <a:gd name="connsiteX36" fmla="*/ 236349 w 341313"/>
                  <a:gd name="connsiteY36" fmla="*/ 347541 h 895243"/>
                  <a:gd name="connsiteX37" fmla="*/ 229922 w 341313"/>
                  <a:gd name="connsiteY37" fmla="*/ 376028 h 895243"/>
                  <a:gd name="connsiteX38" fmla="*/ 228494 w 341313"/>
                  <a:gd name="connsiteY38" fmla="*/ 385287 h 895243"/>
                  <a:gd name="connsiteX39" fmla="*/ 224924 w 341313"/>
                  <a:gd name="connsiteY39" fmla="*/ 415910 h 895243"/>
                  <a:gd name="connsiteX40" fmla="*/ 224210 w 341313"/>
                  <a:gd name="connsiteY40" fmla="*/ 436563 h 895243"/>
                  <a:gd name="connsiteX41" fmla="*/ 0 w 341313"/>
                  <a:gd name="connsiteY41" fmla="*/ 436563 h 895243"/>
                  <a:gd name="connsiteX42" fmla="*/ 8569 w 341313"/>
                  <a:gd name="connsiteY42" fmla="*/ 341844 h 895243"/>
                  <a:gd name="connsiteX43" fmla="*/ 14995 w 341313"/>
                  <a:gd name="connsiteY43" fmla="*/ 311933 h 895243"/>
                  <a:gd name="connsiteX44" fmla="*/ 18565 w 341313"/>
                  <a:gd name="connsiteY44" fmla="*/ 297689 h 895243"/>
                  <a:gd name="connsiteX45" fmla="*/ 26420 w 341313"/>
                  <a:gd name="connsiteY45" fmla="*/ 268490 h 895243"/>
                  <a:gd name="connsiteX46" fmla="*/ 63550 w 341313"/>
                  <a:gd name="connsiteY46" fmla="*/ 170210 h 895243"/>
                  <a:gd name="connsiteX47" fmla="*/ 77117 w 341313"/>
                  <a:gd name="connsiteY47" fmla="*/ 143859 h 895243"/>
                  <a:gd name="connsiteX48" fmla="*/ 182081 w 341313"/>
                  <a:gd name="connsiteY48" fmla="*/ 0 h 89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41313" h="895243">
                    <a:moveTo>
                      <a:pt x="0" y="468312"/>
                    </a:moveTo>
                    <a:cubicBezTo>
                      <a:pt x="0" y="468312"/>
                      <a:pt x="0" y="468312"/>
                      <a:pt x="223547" y="468312"/>
                    </a:cubicBezTo>
                    <a:cubicBezTo>
                      <a:pt x="223547" y="474742"/>
                      <a:pt x="224261" y="481171"/>
                      <a:pt x="224261" y="488315"/>
                    </a:cubicBezTo>
                    <a:cubicBezTo>
                      <a:pt x="224975" y="497602"/>
                      <a:pt x="226404" y="507603"/>
                      <a:pt x="227832" y="517604"/>
                    </a:cubicBezTo>
                    <a:cubicBezTo>
                      <a:pt x="229261" y="526891"/>
                      <a:pt x="231403" y="536892"/>
                      <a:pt x="233546" y="546179"/>
                    </a:cubicBezTo>
                    <a:cubicBezTo>
                      <a:pt x="234974" y="553323"/>
                      <a:pt x="236403" y="559752"/>
                      <a:pt x="237831" y="565467"/>
                    </a:cubicBezTo>
                    <a:cubicBezTo>
                      <a:pt x="239260" y="571897"/>
                      <a:pt x="241402" y="578326"/>
                      <a:pt x="243545" y="584041"/>
                    </a:cubicBezTo>
                    <a:cubicBezTo>
                      <a:pt x="245687" y="590470"/>
                      <a:pt x="247116" y="596185"/>
                      <a:pt x="249973" y="602615"/>
                    </a:cubicBezTo>
                    <a:cubicBezTo>
                      <a:pt x="254258" y="614759"/>
                      <a:pt x="259257" y="625475"/>
                      <a:pt x="264257" y="636905"/>
                    </a:cubicBezTo>
                    <a:cubicBezTo>
                      <a:pt x="267114" y="641905"/>
                      <a:pt x="269970" y="647620"/>
                      <a:pt x="272827" y="653335"/>
                    </a:cubicBezTo>
                    <a:cubicBezTo>
                      <a:pt x="274256" y="656193"/>
                      <a:pt x="275684" y="658336"/>
                      <a:pt x="277112" y="661193"/>
                    </a:cubicBezTo>
                    <a:cubicBezTo>
                      <a:pt x="280684" y="666908"/>
                      <a:pt x="283540" y="672623"/>
                      <a:pt x="287111" y="678338"/>
                    </a:cubicBezTo>
                    <a:cubicBezTo>
                      <a:pt x="299967" y="698341"/>
                      <a:pt x="313537" y="716915"/>
                      <a:pt x="329250" y="734774"/>
                    </a:cubicBezTo>
                    <a:cubicBezTo>
                      <a:pt x="334963" y="740489"/>
                      <a:pt x="334963" y="750490"/>
                      <a:pt x="329250" y="756205"/>
                    </a:cubicBezTo>
                    <a:cubicBezTo>
                      <a:pt x="329250" y="756205"/>
                      <a:pt x="329250" y="756205"/>
                      <a:pt x="192836" y="890508"/>
                    </a:cubicBezTo>
                    <a:cubicBezTo>
                      <a:pt x="186408" y="896937"/>
                      <a:pt x="175695" y="896937"/>
                      <a:pt x="169981" y="889793"/>
                    </a:cubicBezTo>
                    <a:cubicBezTo>
                      <a:pt x="137842" y="854075"/>
                      <a:pt x="107845" y="814784"/>
                      <a:pt x="84277" y="772636"/>
                    </a:cubicBezTo>
                    <a:cubicBezTo>
                      <a:pt x="81420" y="768350"/>
                      <a:pt x="79277" y="764063"/>
                      <a:pt x="77135" y="759777"/>
                    </a:cubicBezTo>
                    <a:cubicBezTo>
                      <a:pt x="72135" y="751205"/>
                      <a:pt x="67850" y="741918"/>
                      <a:pt x="63565" y="733345"/>
                    </a:cubicBezTo>
                    <a:cubicBezTo>
                      <a:pt x="61422" y="728345"/>
                      <a:pt x="59279" y="724058"/>
                      <a:pt x="57137" y="719772"/>
                    </a:cubicBezTo>
                    <a:cubicBezTo>
                      <a:pt x="53566" y="710485"/>
                      <a:pt x="49281" y="701198"/>
                      <a:pt x="45709" y="691912"/>
                    </a:cubicBezTo>
                    <a:cubicBezTo>
                      <a:pt x="39996" y="678338"/>
                      <a:pt x="34996" y="663337"/>
                      <a:pt x="30711" y="649049"/>
                    </a:cubicBezTo>
                    <a:cubicBezTo>
                      <a:pt x="27854" y="639048"/>
                      <a:pt x="24997" y="630475"/>
                      <a:pt x="22141" y="620474"/>
                    </a:cubicBezTo>
                    <a:cubicBezTo>
                      <a:pt x="20712" y="616188"/>
                      <a:pt x="19284" y="611187"/>
                      <a:pt x="18570" y="606901"/>
                    </a:cubicBezTo>
                    <a:cubicBezTo>
                      <a:pt x="15713" y="596900"/>
                      <a:pt x="13570" y="586898"/>
                      <a:pt x="11428" y="576897"/>
                    </a:cubicBezTo>
                    <a:cubicBezTo>
                      <a:pt x="9285" y="566896"/>
                      <a:pt x="7857" y="556895"/>
                      <a:pt x="6428" y="545465"/>
                    </a:cubicBezTo>
                    <a:cubicBezTo>
                      <a:pt x="5000" y="535463"/>
                      <a:pt x="3571" y="525462"/>
                      <a:pt x="2857" y="514747"/>
                    </a:cubicBezTo>
                    <a:cubicBezTo>
                      <a:pt x="2143" y="509746"/>
                      <a:pt x="1429" y="504745"/>
                      <a:pt x="1429" y="499745"/>
                    </a:cubicBezTo>
                    <a:cubicBezTo>
                      <a:pt x="714" y="489029"/>
                      <a:pt x="0" y="478313"/>
                      <a:pt x="0" y="468312"/>
                    </a:cubicBezTo>
                    <a:close/>
                    <a:moveTo>
                      <a:pt x="182081" y="0"/>
                    </a:moveTo>
                    <a:cubicBezTo>
                      <a:pt x="182081" y="0"/>
                      <a:pt x="182081" y="0"/>
                      <a:pt x="341313" y="158103"/>
                    </a:cubicBezTo>
                    <a:cubicBezTo>
                      <a:pt x="310609" y="190151"/>
                      <a:pt x="284904" y="225759"/>
                      <a:pt x="264911" y="266353"/>
                    </a:cubicBezTo>
                    <a:cubicBezTo>
                      <a:pt x="262054" y="272051"/>
                      <a:pt x="259912" y="277748"/>
                      <a:pt x="257056" y="284158"/>
                    </a:cubicBezTo>
                    <a:cubicBezTo>
                      <a:pt x="254914" y="289855"/>
                      <a:pt x="252772" y="295553"/>
                      <a:pt x="250630" y="301250"/>
                    </a:cubicBezTo>
                    <a:cubicBezTo>
                      <a:pt x="247773" y="307660"/>
                      <a:pt x="246345" y="313357"/>
                      <a:pt x="244203" y="319767"/>
                    </a:cubicBezTo>
                    <a:cubicBezTo>
                      <a:pt x="242775" y="322615"/>
                      <a:pt x="242061" y="325464"/>
                      <a:pt x="241347" y="329025"/>
                    </a:cubicBezTo>
                    <a:cubicBezTo>
                      <a:pt x="239205" y="334722"/>
                      <a:pt x="237777" y="341132"/>
                      <a:pt x="236349" y="347541"/>
                    </a:cubicBezTo>
                    <a:cubicBezTo>
                      <a:pt x="234207" y="356800"/>
                      <a:pt x="232065" y="366058"/>
                      <a:pt x="229922" y="376028"/>
                    </a:cubicBezTo>
                    <a:cubicBezTo>
                      <a:pt x="229922" y="378877"/>
                      <a:pt x="229208" y="382438"/>
                      <a:pt x="228494" y="385287"/>
                    </a:cubicBezTo>
                    <a:cubicBezTo>
                      <a:pt x="227066" y="395969"/>
                      <a:pt x="225638" y="405940"/>
                      <a:pt x="224924" y="415910"/>
                    </a:cubicBezTo>
                    <a:cubicBezTo>
                      <a:pt x="224924" y="422320"/>
                      <a:pt x="224210" y="429441"/>
                      <a:pt x="224210" y="436563"/>
                    </a:cubicBezTo>
                    <a:cubicBezTo>
                      <a:pt x="224210" y="436563"/>
                      <a:pt x="224210" y="436563"/>
                      <a:pt x="0" y="436563"/>
                    </a:cubicBezTo>
                    <a:cubicBezTo>
                      <a:pt x="714" y="403803"/>
                      <a:pt x="3570" y="372467"/>
                      <a:pt x="8569" y="341844"/>
                    </a:cubicBezTo>
                    <a:cubicBezTo>
                      <a:pt x="9997" y="331873"/>
                      <a:pt x="12853" y="321903"/>
                      <a:pt x="14995" y="311933"/>
                    </a:cubicBezTo>
                    <a:cubicBezTo>
                      <a:pt x="16423" y="306947"/>
                      <a:pt x="17137" y="302674"/>
                      <a:pt x="18565" y="297689"/>
                    </a:cubicBezTo>
                    <a:cubicBezTo>
                      <a:pt x="20708" y="287719"/>
                      <a:pt x="23564" y="277748"/>
                      <a:pt x="26420" y="268490"/>
                    </a:cubicBezTo>
                    <a:cubicBezTo>
                      <a:pt x="35702" y="233593"/>
                      <a:pt x="48555" y="201546"/>
                      <a:pt x="63550" y="170210"/>
                    </a:cubicBezTo>
                    <a:cubicBezTo>
                      <a:pt x="67834" y="161664"/>
                      <a:pt x="72119" y="153118"/>
                      <a:pt x="77117" y="143859"/>
                    </a:cubicBezTo>
                    <a:cubicBezTo>
                      <a:pt x="104965" y="91158"/>
                      <a:pt x="140667" y="43443"/>
                      <a:pt x="182081" y="0"/>
                    </a:cubicBezTo>
                    <a:close/>
                  </a:path>
                </a:pathLst>
              </a:custGeom>
              <a:solidFill>
                <a:srgbClr val="071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62" name="Freeform 11">
                <a:extLst>
                  <a:ext uri="{FF2B5EF4-FFF2-40B4-BE49-F238E27FC236}">
                    <a16:creationId xmlns:a16="http://schemas.microsoft.com/office/drawing/2014/main" id="{2EB67724-DE55-4A41-B140-975C7B8156AA}"/>
                  </a:ext>
                </a:extLst>
              </p:cNvPr>
              <p:cNvSpPr>
                <a:spLocks/>
              </p:cNvSpPr>
              <p:nvPr/>
            </p:nvSpPr>
            <p:spPr bwMode="auto">
              <a:xfrm>
                <a:off x="5645150" y="2876549"/>
                <a:ext cx="1104901" cy="1096600"/>
              </a:xfrm>
              <a:custGeom>
                <a:avLst/>
                <a:gdLst>
                  <a:gd name="connsiteX0" fmla="*/ 555397 w 1104901"/>
                  <a:gd name="connsiteY0" fmla="*/ 717550 h 1096600"/>
                  <a:gd name="connsiteX1" fmla="*/ 515938 w 1104901"/>
                  <a:gd name="connsiteY1" fmla="*/ 777673 h 1096600"/>
                  <a:gd name="connsiteX2" fmla="*/ 525265 w 1104901"/>
                  <a:gd name="connsiteY2" fmla="*/ 824913 h 1096600"/>
                  <a:gd name="connsiteX3" fmla="*/ 550375 w 1104901"/>
                  <a:gd name="connsiteY3" fmla="*/ 841375 h 1096600"/>
                  <a:gd name="connsiteX4" fmla="*/ 590551 w 1104901"/>
                  <a:gd name="connsiteY4" fmla="*/ 778389 h 1096600"/>
                  <a:gd name="connsiteX5" fmla="*/ 555397 w 1104901"/>
                  <a:gd name="connsiteY5" fmla="*/ 717550 h 1096600"/>
                  <a:gd name="connsiteX6" fmla="*/ 882174 w 1104901"/>
                  <a:gd name="connsiteY6" fmla="*/ 669925 h 1096600"/>
                  <a:gd name="connsiteX7" fmla="*/ 1104900 w 1104901"/>
                  <a:gd name="connsiteY7" fmla="*/ 669925 h 1096600"/>
                  <a:gd name="connsiteX8" fmla="*/ 1086340 w 1104901"/>
                  <a:gd name="connsiteY8" fmla="*/ 807800 h 1096600"/>
                  <a:gd name="connsiteX9" fmla="*/ 1078487 w 1104901"/>
                  <a:gd name="connsiteY9" fmla="*/ 837089 h 1096600"/>
                  <a:gd name="connsiteX10" fmla="*/ 1069207 w 1104901"/>
                  <a:gd name="connsiteY10" fmla="*/ 865664 h 1096600"/>
                  <a:gd name="connsiteX11" fmla="*/ 1047077 w 1104901"/>
                  <a:gd name="connsiteY11" fmla="*/ 921385 h 1096600"/>
                  <a:gd name="connsiteX12" fmla="*/ 1034941 w 1104901"/>
                  <a:gd name="connsiteY12" fmla="*/ 947817 h 1096600"/>
                  <a:gd name="connsiteX13" fmla="*/ 1020664 w 1104901"/>
                  <a:gd name="connsiteY13" fmla="*/ 974963 h 1096600"/>
                  <a:gd name="connsiteX14" fmla="*/ 1005673 w 1104901"/>
                  <a:gd name="connsiteY14" fmla="*/ 999966 h 1096600"/>
                  <a:gd name="connsiteX15" fmla="*/ 980688 w 1104901"/>
                  <a:gd name="connsiteY15" fmla="*/ 1035685 h 1096600"/>
                  <a:gd name="connsiteX16" fmla="*/ 935714 w 1104901"/>
                  <a:gd name="connsiteY16" fmla="*/ 1091406 h 1096600"/>
                  <a:gd name="connsiteX17" fmla="*/ 912871 w 1104901"/>
                  <a:gd name="connsiteY17" fmla="*/ 1092121 h 1096600"/>
                  <a:gd name="connsiteX18" fmla="*/ 777950 w 1104901"/>
                  <a:gd name="connsiteY18" fmla="*/ 957818 h 1096600"/>
                  <a:gd name="connsiteX19" fmla="*/ 777236 w 1104901"/>
                  <a:gd name="connsiteY19" fmla="*/ 936387 h 1096600"/>
                  <a:gd name="connsiteX20" fmla="*/ 823637 w 1104901"/>
                  <a:gd name="connsiteY20" fmla="*/ 872093 h 1096600"/>
                  <a:gd name="connsiteX21" fmla="*/ 832918 w 1104901"/>
                  <a:gd name="connsiteY21" fmla="*/ 855663 h 1096600"/>
                  <a:gd name="connsiteX22" fmla="*/ 840770 w 1104901"/>
                  <a:gd name="connsiteY22" fmla="*/ 838518 h 1096600"/>
                  <a:gd name="connsiteX23" fmla="*/ 852192 w 1104901"/>
                  <a:gd name="connsiteY23" fmla="*/ 812086 h 1096600"/>
                  <a:gd name="connsiteX24" fmla="*/ 880033 w 1104901"/>
                  <a:gd name="connsiteY24" fmla="*/ 699215 h 1096600"/>
                  <a:gd name="connsiteX25" fmla="*/ 882174 w 1104901"/>
                  <a:gd name="connsiteY25" fmla="*/ 669925 h 1096600"/>
                  <a:gd name="connsiteX26" fmla="*/ 555311 w 1104901"/>
                  <a:gd name="connsiteY26" fmla="*/ 669925 h 1096600"/>
                  <a:gd name="connsiteX27" fmla="*/ 621804 w 1104901"/>
                  <a:gd name="connsiteY27" fmla="*/ 699161 h 1096600"/>
                  <a:gd name="connsiteX28" fmla="*/ 646113 w 1104901"/>
                  <a:gd name="connsiteY28" fmla="*/ 779739 h 1096600"/>
                  <a:gd name="connsiteX29" fmla="*/ 620374 w 1104901"/>
                  <a:gd name="connsiteY29" fmla="*/ 858177 h 1096600"/>
                  <a:gd name="connsiteX30" fmla="*/ 552451 w 1104901"/>
                  <a:gd name="connsiteY30" fmla="*/ 887413 h 1096600"/>
                  <a:gd name="connsiteX31" fmla="*/ 458788 w 1104901"/>
                  <a:gd name="connsiteY31" fmla="*/ 774747 h 1096600"/>
                  <a:gd name="connsiteX32" fmla="*/ 485958 w 1104901"/>
                  <a:gd name="connsiteY32" fmla="*/ 699161 h 1096600"/>
                  <a:gd name="connsiteX33" fmla="*/ 555311 w 1104901"/>
                  <a:gd name="connsiteY33" fmla="*/ 669925 h 1096600"/>
                  <a:gd name="connsiteX34" fmla="*/ 343883 w 1104901"/>
                  <a:gd name="connsiteY34" fmla="*/ 476250 h 1096600"/>
                  <a:gd name="connsiteX35" fmla="*/ 304800 w 1104901"/>
                  <a:gd name="connsiteY35" fmla="*/ 537089 h 1096600"/>
                  <a:gd name="connsiteX36" fmla="*/ 314749 w 1104901"/>
                  <a:gd name="connsiteY36" fmla="*/ 583613 h 1096600"/>
                  <a:gd name="connsiteX37" fmla="*/ 338909 w 1104901"/>
                  <a:gd name="connsiteY37" fmla="*/ 600075 h 1096600"/>
                  <a:gd name="connsiteX38" fmla="*/ 379413 w 1104901"/>
                  <a:gd name="connsiteY38" fmla="*/ 537089 h 1096600"/>
                  <a:gd name="connsiteX39" fmla="*/ 343883 w 1104901"/>
                  <a:gd name="connsiteY39" fmla="*/ 476250 h 1096600"/>
                  <a:gd name="connsiteX40" fmla="*/ 562165 w 1104901"/>
                  <a:gd name="connsiteY40" fmla="*/ 430213 h 1096600"/>
                  <a:gd name="connsiteX41" fmla="*/ 604222 w 1104901"/>
                  <a:gd name="connsiteY41" fmla="*/ 430213 h 1096600"/>
                  <a:gd name="connsiteX42" fmla="*/ 609924 w 1104901"/>
                  <a:gd name="connsiteY42" fmla="*/ 440895 h 1096600"/>
                  <a:gd name="connsiteX43" fmla="*/ 341902 w 1104901"/>
                  <a:gd name="connsiteY43" fmla="*/ 883852 h 1096600"/>
                  <a:gd name="connsiteX44" fmla="*/ 336199 w 1104901"/>
                  <a:gd name="connsiteY44" fmla="*/ 887413 h 1096600"/>
                  <a:gd name="connsiteX45" fmla="*/ 293429 w 1104901"/>
                  <a:gd name="connsiteY45" fmla="*/ 887413 h 1096600"/>
                  <a:gd name="connsiteX46" fmla="*/ 287014 w 1104901"/>
                  <a:gd name="connsiteY46" fmla="*/ 876731 h 1096600"/>
                  <a:gd name="connsiteX47" fmla="*/ 556462 w 1104901"/>
                  <a:gd name="connsiteY47" fmla="*/ 433061 h 1096600"/>
                  <a:gd name="connsiteX48" fmla="*/ 562165 w 1104901"/>
                  <a:gd name="connsiteY48" fmla="*/ 430213 h 1096600"/>
                  <a:gd name="connsiteX49" fmla="*/ 344602 w 1104901"/>
                  <a:gd name="connsiteY49" fmla="*/ 430213 h 1096600"/>
                  <a:gd name="connsiteX50" fmla="*/ 411612 w 1104901"/>
                  <a:gd name="connsiteY50" fmla="*/ 459449 h 1096600"/>
                  <a:gd name="connsiteX51" fmla="*/ 436563 w 1104901"/>
                  <a:gd name="connsiteY51" fmla="*/ 540027 h 1096600"/>
                  <a:gd name="connsiteX52" fmla="*/ 410187 w 1104901"/>
                  <a:gd name="connsiteY52" fmla="*/ 618465 h 1096600"/>
                  <a:gd name="connsiteX53" fmla="*/ 341750 w 1104901"/>
                  <a:gd name="connsiteY53" fmla="*/ 647701 h 1096600"/>
                  <a:gd name="connsiteX54" fmla="*/ 247650 w 1104901"/>
                  <a:gd name="connsiteY54" fmla="*/ 534322 h 1096600"/>
                  <a:gd name="connsiteX55" fmla="*/ 274740 w 1104901"/>
                  <a:gd name="connsiteY55" fmla="*/ 459449 h 1096600"/>
                  <a:gd name="connsiteX56" fmla="*/ 344602 w 1104901"/>
                  <a:gd name="connsiteY56" fmla="*/ 430213 h 1096600"/>
                  <a:gd name="connsiteX57" fmla="*/ 924752 w 1104901"/>
                  <a:gd name="connsiteY57" fmla="*/ 203200 h 1096600"/>
                  <a:gd name="connsiteX58" fmla="*/ 953347 w 1104901"/>
                  <a:gd name="connsiteY58" fmla="*/ 235948 h 1096600"/>
                  <a:gd name="connsiteX59" fmla="*/ 971934 w 1104901"/>
                  <a:gd name="connsiteY59" fmla="*/ 259441 h 1096600"/>
                  <a:gd name="connsiteX60" fmla="*/ 997669 w 1104901"/>
                  <a:gd name="connsiteY60" fmla="*/ 295748 h 1096600"/>
                  <a:gd name="connsiteX61" fmla="*/ 1027694 w 1104901"/>
                  <a:gd name="connsiteY61" fmla="*/ 346293 h 1096600"/>
                  <a:gd name="connsiteX62" fmla="*/ 1078451 w 1104901"/>
                  <a:gd name="connsiteY62" fmla="*/ 470877 h 1096600"/>
                  <a:gd name="connsiteX63" fmla="*/ 1098467 w 1104901"/>
                  <a:gd name="connsiteY63" fmla="*/ 559865 h 1096600"/>
                  <a:gd name="connsiteX64" fmla="*/ 1104901 w 1104901"/>
                  <a:gd name="connsiteY64" fmla="*/ 638175 h 1096600"/>
                  <a:gd name="connsiteX65" fmla="*/ 881859 w 1104901"/>
                  <a:gd name="connsiteY65" fmla="*/ 638175 h 1096600"/>
                  <a:gd name="connsiteX66" fmla="*/ 880429 w 1104901"/>
                  <a:gd name="connsiteY66" fmla="*/ 618241 h 1096600"/>
                  <a:gd name="connsiteX67" fmla="*/ 875425 w 1104901"/>
                  <a:gd name="connsiteY67" fmla="*/ 578375 h 1096600"/>
                  <a:gd name="connsiteX68" fmla="*/ 867561 w 1104901"/>
                  <a:gd name="connsiteY68" fmla="*/ 540644 h 1096600"/>
                  <a:gd name="connsiteX69" fmla="*/ 864702 w 1104901"/>
                  <a:gd name="connsiteY69" fmla="*/ 531389 h 1096600"/>
                  <a:gd name="connsiteX70" fmla="*/ 858983 w 1104901"/>
                  <a:gd name="connsiteY70" fmla="*/ 512879 h 1096600"/>
                  <a:gd name="connsiteX71" fmla="*/ 848260 w 1104901"/>
                  <a:gd name="connsiteY71" fmla="*/ 486539 h 1096600"/>
                  <a:gd name="connsiteX72" fmla="*/ 836821 w 1104901"/>
                  <a:gd name="connsiteY72" fmla="*/ 460198 h 1096600"/>
                  <a:gd name="connsiteX73" fmla="*/ 766763 w 1104901"/>
                  <a:gd name="connsiteY73" fmla="*/ 360531 h 1096600"/>
                  <a:gd name="connsiteX74" fmla="*/ 924752 w 1104901"/>
                  <a:gd name="connsiteY74" fmla="*/ 203200 h 1096600"/>
                  <a:gd name="connsiteX75" fmla="*/ 465138 w 1104901"/>
                  <a:gd name="connsiteY75" fmla="*/ 0 h 1096600"/>
                  <a:gd name="connsiteX76" fmla="*/ 663127 w 1104901"/>
                  <a:gd name="connsiteY76" fmla="*/ 35013 h 1096600"/>
                  <a:gd name="connsiteX77" fmla="*/ 691003 w 1104901"/>
                  <a:gd name="connsiteY77" fmla="*/ 45016 h 1096600"/>
                  <a:gd name="connsiteX78" fmla="*/ 745325 w 1104901"/>
                  <a:gd name="connsiteY78" fmla="*/ 68596 h 1096600"/>
                  <a:gd name="connsiteX79" fmla="*/ 771772 w 1104901"/>
                  <a:gd name="connsiteY79" fmla="*/ 82887 h 1096600"/>
                  <a:gd name="connsiteX80" fmla="*/ 822520 w 1104901"/>
                  <a:gd name="connsiteY80" fmla="*/ 115041 h 1096600"/>
                  <a:gd name="connsiteX81" fmla="*/ 846107 w 1104901"/>
                  <a:gd name="connsiteY81" fmla="*/ 131476 h 1096600"/>
                  <a:gd name="connsiteX82" fmla="*/ 858258 w 1104901"/>
                  <a:gd name="connsiteY82" fmla="*/ 140765 h 1096600"/>
                  <a:gd name="connsiteX83" fmla="*/ 881131 w 1104901"/>
                  <a:gd name="connsiteY83" fmla="*/ 159343 h 1096600"/>
                  <a:gd name="connsiteX84" fmla="*/ 903288 w 1104901"/>
                  <a:gd name="connsiteY84" fmla="*/ 179350 h 1096600"/>
                  <a:gd name="connsiteX85" fmla="*/ 744610 w 1104901"/>
                  <a:gd name="connsiteY85" fmla="*/ 336550 h 1096600"/>
                  <a:gd name="connsiteX86" fmla="*/ 669560 w 1104901"/>
                  <a:gd name="connsiteY86" fmla="*/ 279386 h 1096600"/>
                  <a:gd name="connsiteX87" fmla="*/ 652406 w 1104901"/>
                  <a:gd name="connsiteY87" fmla="*/ 270812 h 1096600"/>
                  <a:gd name="connsiteX88" fmla="*/ 618097 w 1104901"/>
                  <a:gd name="connsiteY88" fmla="*/ 255092 h 1096600"/>
                  <a:gd name="connsiteX89" fmla="*/ 590936 w 1104901"/>
                  <a:gd name="connsiteY89" fmla="*/ 244374 h 1096600"/>
                  <a:gd name="connsiteX90" fmla="*/ 581644 w 1104901"/>
                  <a:gd name="connsiteY90" fmla="*/ 241516 h 1096600"/>
                  <a:gd name="connsiteX91" fmla="*/ 563060 w 1104901"/>
                  <a:gd name="connsiteY91" fmla="*/ 235799 h 1096600"/>
                  <a:gd name="connsiteX92" fmla="*/ 535185 w 1104901"/>
                  <a:gd name="connsiteY92" fmla="*/ 229368 h 1096600"/>
                  <a:gd name="connsiteX93" fmla="*/ 505165 w 1104901"/>
                  <a:gd name="connsiteY93" fmla="*/ 224367 h 1096600"/>
                  <a:gd name="connsiteX94" fmla="*/ 465138 w 1104901"/>
                  <a:gd name="connsiteY94" fmla="*/ 221508 h 1096600"/>
                  <a:gd name="connsiteX95" fmla="*/ 465138 w 1104901"/>
                  <a:gd name="connsiteY95" fmla="*/ 0 h 1096600"/>
                  <a:gd name="connsiteX96" fmla="*/ 434975 w 1104901"/>
                  <a:gd name="connsiteY96" fmla="*/ 0 h 1096600"/>
                  <a:gd name="connsiteX97" fmla="*/ 434975 w 1104901"/>
                  <a:gd name="connsiteY97" fmla="*/ 221508 h 1096600"/>
                  <a:gd name="connsiteX98" fmla="*/ 156876 w 1104901"/>
                  <a:gd name="connsiteY98" fmla="*/ 336550 h 1096600"/>
                  <a:gd name="connsiteX99" fmla="*/ 0 w 1104901"/>
                  <a:gd name="connsiteY99" fmla="*/ 179350 h 1096600"/>
                  <a:gd name="connsiteX100" fmla="*/ 32801 w 1104901"/>
                  <a:gd name="connsiteY100" fmla="*/ 150054 h 1096600"/>
                  <a:gd name="connsiteX101" fmla="*/ 79864 w 1104901"/>
                  <a:gd name="connsiteY101" fmla="*/ 115041 h 1096600"/>
                  <a:gd name="connsiteX102" fmla="*/ 104109 w 1104901"/>
                  <a:gd name="connsiteY102" fmla="*/ 98607 h 1096600"/>
                  <a:gd name="connsiteX103" fmla="*/ 168998 w 1104901"/>
                  <a:gd name="connsiteY103" fmla="*/ 62165 h 1096600"/>
                  <a:gd name="connsiteX104" fmla="*/ 253141 w 1104901"/>
                  <a:gd name="connsiteY104" fmla="*/ 30011 h 1096600"/>
                  <a:gd name="connsiteX105" fmla="*/ 267402 w 1104901"/>
                  <a:gd name="connsiteY105" fmla="*/ 25723 h 1096600"/>
                  <a:gd name="connsiteX106" fmla="*/ 296638 w 1104901"/>
                  <a:gd name="connsiteY106" fmla="*/ 17863 h 1096600"/>
                  <a:gd name="connsiteX107" fmla="*/ 326588 w 1104901"/>
                  <a:gd name="connsiteY107" fmla="*/ 11433 h 1096600"/>
                  <a:gd name="connsiteX108" fmla="*/ 402886 w 1104901"/>
                  <a:gd name="connsiteY108" fmla="*/ 1429 h 1096600"/>
                  <a:gd name="connsiteX109" fmla="*/ 434975 w 1104901"/>
                  <a:gd name="connsiteY109" fmla="*/ 0 h 109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04901" h="1096600">
                    <a:moveTo>
                      <a:pt x="555397" y="717550"/>
                    </a:moveTo>
                    <a:cubicBezTo>
                      <a:pt x="528852" y="717550"/>
                      <a:pt x="515938" y="737591"/>
                      <a:pt x="515938" y="777673"/>
                    </a:cubicBezTo>
                    <a:cubicBezTo>
                      <a:pt x="515938" y="798430"/>
                      <a:pt x="519525" y="814177"/>
                      <a:pt x="525265" y="824913"/>
                    </a:cubicBezTo>
                    <a:cubicBezTo>
                      <a:pt x="531722" y="835649"/>
                      <a:pt x="540331" y="841375"/>
                      <a:pt x="550375" y="841375"/>
                    </a:cubicBezTo>
                    <a:cubicBezTo>
                      <a:pt x="577637" y="841375"/>
                      <a:pt x="590551" y="820618"/>
                      <a:pt x="590551" y="778389"/>
                    </a:cubicBezTo>
                    <a:cubicBezTo>
                      <a:pt x="590551" y="737591"/>
                      <a:pt x="579072" y="717550"/>
                      <a:pt x="555397" y="717550"/>
                    </a:cubicBezTo>
                    <a:close/>
                    <a:moveTo>
                      <a:pt x="882174" y="669925"/>
                    </a:moveTo>
                    <a:cubicBezTo>
                      <a:pt x="882174" y="669925"/>
                      <a:pt x="882174" y="669925"/>
                      <a:pt x="1104900" y="669925"/>
                    </a:cubicBezTo>
                    <a:cubicBezTo>
                      <a:pt x="1103473" y="717074"/>
                      <a:pt x="1097762" y="762794"/>
                      <a:pt x="1086340" y="807800"/>
                    </a:cubicBezTo>
                    <a:cubicBezTo>
                      <a:pt x="1084198" y="817086"/>
                      <a:pt x="1081343" y="827088"/>
                      <a:pt x="1078487" y="837089"/>
                    </a:cubicBezTo>
                    <a:cubicBezTo>
                      <a:pt x="1075632" y="846376"/>
                      <a:pt x="1072776" y="856377"/>
                      <a:pt x="1069207" y="865664"/>
                    </a:cubicBezTo>
                    <a:cubicBezTo>
                      <a:pt x="1062782" y="884238"/>
                      <a:pt x="1055644" y="902811"/>
                      <a:pt x="1047077" y="921385"/>
                    </a:cubicBezTo>
                    <a:cubicBezTo>
                      <a:pt x="1043508" y="929958"/>
                      <a:pt x="1039225" y="939245"/>
                      <a:pt x="1034941" y="947817"/>
                    </a:cubicBezTo>
                    <a:cubicBezTo>
                      <a:pt x="1029944" y="957104"/>
                      <a:pt x="1025661" y="965676"/>
                      <a:pt x="1020664" y="974963"/>
                    </a:cubicBezTo>
                    <a:cubicBezTo>
                      <a:pt x="1015667" y="983536"/>
                      <a:pt x="1010670" y="991394"/>
                      <a:pt x="1005673" y="999966"/>
                    </a:cubicBezTo>
                    <a:cubicBezTo>
                      <a:pt x="997820" y="1011396"/>
                      <a:pt x="989254" y="1023541"/>
                      <a:pt x="980688" y="1035685"/>
                    </a:cubicBezTo>
                    <a:cubicBezTo>
                      <a:pt x="966410" y="1055688"/>
                      <a:pt x="951419" y="1073547"/>
                      <a:pt x="935714" y="1091406"/>
                    </a:cubicBezTo>
                    <a:cubicBezTo>
                      <a:pt x="930003" y="1097836"/>
                      <a:pt x="919295" y="1098550"/>
                      <a:pt x="912871" y="1092121"/>
                    </a:cubicBezTo>
                    <a:cubicBezTo>
                      <a:pt x="912871" y="1092121"/>
                      <a:pt x="912871" y="1092121"/>
                      <a:pt x="777950" y="957818"/>
                    </a:cubicBezTo>
                    <a:cubicBezTo>
                      <a:pt x="771525" y="952103"/>
                      <a:pt x="771525" y="942816"/>
                      <a:pt x="777236" y="936387"/>
                    </a:cubicBezTo>
                    <a:cubicBezTo>
                      <a:pt x="794369" y="916385"/>
                      <a:pt x="810074" y="894953"/>
                      <a:pt x="823637" y="872093"/>
                    </a:cubicBezTo>
                    <a:cubicBezTo>
                      <a:pt x="826493" y="866378"/>
                      <a:pt x="829348" y="860663"/>
                      <a:pt x="832918" y="855663"/>
                    </a:cubicBezTo>
                    <a:cubicBezTo>
                      <a:pt x="835773" y="849948"/>
                      <a:pt x="838629" y="844233"/>
                      <a:pt x="840770" y="838518"/>
                    </a:cubicBezTo>
                    <a:cubicBezTo>
                      <a:pt x="845053" y="829945"/>
                      <a:pt x="848623" y="822087"/>
                      <a:pt x="852192" y="812086"/>
                    </a:cubicBezTo>
                    <a:cubicBezTo>
                      <a:pt x="866469" y="777081"/>
                      <a:pt x="875750" y="739220"/>
                      <a:pt x="880033" y="699215"/>
                    </a:cubicBezTo>
                    <a:cubicBezTo>
                      <a:pt x="881460" y="689928"/>
                      <a:pt x="882174" y="679926"/>
                      <a:pt x="882174" y="669925"/>
                    </a:cubicBezTo>
                    <a:close/>
                    <a:moveTo>
                      <a:pt x="555311" y="669925"/>
                    </a:moveTo>
                    <a:cubicBezTo>
                      <a:pt x="583195" y="669925"/>
                      <a:pt x="605359" y="679908"/>
                      <a:pt x="621804" y="699161"/>
                    </a:cubicBezTo>
                    <a:cubicBezTo>
                      <a:pt x="638248" y="718414"/>
                      <a:pt x="646113" y="745511"/>
                      <a:pt x="646113" y="779739"/>
                    </a:cubicBezTo>
                    <a:cubicBezTo>
                      <a:pt x="646113" y="812540"/>
                      <a:pt x="637533" y="838211"/>
                      <a:pt x="620374" y="858177"/>
                    </a:cubicBezTo>
                    <a:cubicBezTo>
                      <a:pt x="602499" y="877430"/>
                      <a:pt x="580335" y="887413"/>
                      <a:pt x="552451" y="887413"/>
                    </a:cubicBezTo>
                    <a:cubicBezTo>
                      <a:pt x="490247" y="887413"/>
                      <a:pt x="458788" y="849620"/>
                      <a:pt x="458788" y="774747"/>
                    </a:cubicBezTo>
                    <a:cubicBezTo>
                      <a:pt x="458788" y="744085"/>
                      <a:pt x="468083" y="718414"/>
                      <a:pt x="485958" y="699161"/>
                    </a:cubicBezTo>
                    <a:cubicBezTo>
                      <a:pt x="503832" y="679908"/>
                      <a:pt x="526711" y="669925"/>
                      <a:pt x="555311" y="669925"/>
                    </a:cubicBezTo>
                    <a:close/>
                    <a:moveTo>
                      <a:pt x="343883" y="476250"/>
                    </a:moveTo>
                    <a:cubicBezTo>
                      <a:pt x="318302" y="476250"/>
                      <a:pt x="304800" y="496291"/>
                      <a:pt x="304800" y="537089"/>
                    </a:cubicBezTo>
                    <a:cubicBezTo>
                      <a:pt x="304800" y="557130"/>
                      <a:pt x="308353" y="572877"/>
                      <a:pt x="314749" y="583613"/>
                    </a:cubicBezTo>
                    <a:cubicBezTo>
                      <a:pt x="321144" y="594349"/>
                      <a:pt x="329671" y="600075"/>
                      <a:pt x="338909" y="600075"/>
                    </a:cubicBezTo>
                    <a:cubicBezTo>
                      <a:pt x="365912" y="600075"/>
                      <a:pt x="379413" y="579318"/>
                      <a:pt x="379413" y="537089"/>
                    </a:cubicBezTo>
                    <a:cubicBezTo>
                      <a:pt x="379413" y="496291"/>
                      <a:pt x="367333" y="476250"/>
                      <a:pt x="343883" y="476250"/>
                    </a:cubicBezTo>
                    <a:close/>
                    <a:moveTo>
                      <a:pt x="562165" y="430213"/>
                    </a:moveTo>
                    <a:cubicBezTo>
                      <a:pt x="562165" y="430213"/>
                      <a:pt x="562165" y="430213"/>
                      <a:pt x="604222" y="430213"/>
                    </a:cubicBezTo>
                    <a:cubicBezTo>
                      <a:pt x="609924" y="430213"/>
                      <a:pt x="612776" y="435910"/>
                      <a:pt x="609924" y="440895"/>
                    </a:cubicBezTo>
                    <a:cubicBezTo>
                      <a:pt x="609924" y="440895"/>
                      <a:pt x="609924" y="440895"/>
                      <a:pt x="341902" y="883852"/>
                    </a:cubicBezTo>
                    <a:cubicBezTo>
                      <a:pt x="341189" y="885989"/>
                      <a:pt x="338338" y="887413"/>
                      <a:pt x="336199" y="887413"/>
                    </a:cubicBezTo>
                    <a:cubicBezTo>
                      <a:pt x="336199" y="887413"/>
                      <a:pt x="336199" y="887413"/>
                      <a:pt x="293429" y="887413"/>
                    </a:cubicBezTo>
                    <a:cubicBezTo>
                      <a:pt x="287727" y="887413"/>
                      <a:pt x="284163" y="881716"/>
                      <a:pt x="287014" y="876731"/>
                    </a:cubicBezTo>
                    <a:cubicBezTo>
                      <a:pt x="287014" y="876731"/>
                      <a:pt x="287014" y="876731"/>
                      <a:pt x="556462" y="433061"/>
                    </a:cubicBezTo>
                    <a:cubicBezTo>
                      <a:pt x="557888" y="431637"/>
                      <a:pt x="560027" y="430213"/>
                      <a:pt x="562165" y="430213"/>
                    </a:cubicBezTo>
                    <a:close/>
                    <a:moveTo>
                      <a:pt x="344602" y="430213"/>
                    </a:moveTo>
                    <a:cubicBezTo>
                      <a:pt x="372404" y="430213"/>
                      <a:pt x="394503" y="439483"/>
                      <a:pt x="411612" y="459449"/>
                    </a:cubicBezTo>
                    <a:cubicBezTo>
                      <a:pt x="428009" y="478702"/>
                      <a:pt x="436563" y="505799"/>
                      <a:pt x="436563" y="540027"/>
                    </a:cubicBezTo>
                    <a:cubicBezTo>
                      <a:pt x="436563" y="572828"/>
                      <a:pt x="427296" y="598499"/>
                      <a:pt x="410187" y="618465"/>
                    </a:cubicBezTo>
                    <a:cubicBezTo>
                      <a:pt x="392365" y="637718"/>
                      <a:pt x="369553" y="647701"/>
                      <a:pt x="341750" y="647701"/>
                    </a:cubicBezTo>
                    <a:cubicBezTo>
                      <a:pt x="279730" y="647701"/>
                      <a:pt x="247650" y="609908"/>
                      <a:pt x="247650" y="534322"/>
                    </a:cubicBezTo>
                    <a:cubicBezTo>
                      <a:pt x="247650" y="503660"/>
                      <a:pt x="256918" y="478702"/>
                      <a:pt x="274740" y="459449"/>
                    </a:cubicBezTo>
                    <a:cubicBezTo>
                      <a:pt x="293275" y="439483"/>
                      <a:pt x="316800" y="430213"/>
                      <a:pt x="344602" y="430213"/>
                    </a:cubicBezTo>
                    <a:close/>
                    <a:moveTo>
                      <a:pt x="924752" y="203200"/>
                    </a:moveTo>
                    <a:cubicBezTo>
                      <a:pt x="934045" y="213878"/>
                      <a:pt x="944053" y="224557"/>
                      <a:pt x="953347" y="235948"/>
                    </a:cubicBezTo>
                    <a:cubicBezTo>
                      <a:pt x="959781" y="243779"/>
                      <a:pt x="965500" y="252321"/>
                      <a:pt x="971934" y="259441"/>
                    </a:cubicBezTo>
                    <a:cubicBezTo>
                      <a:pt x="980512" y="271543"/>
                      <a:pt x="989091" y="283645"/>
                      <a:pt x="997669" y="295748"/>
                    </a:cubicBezTo>
                    <a:cubicBezTo>
                      <a:pt x="1008393" y="312122"/>
                      <a:pt x="1018401" y="329207"/>
                      <a:pt x="1027694" y="346293"/>
                    </a:cubicBezTo>
                    <a:cubicBezTo>
                      <a:pt x="1048426" y="385448"/>
                      <a:pt x="1065583" y="427450"/>
                      <a:pt x="1078451" y="470877"/>
                    </a:cubicBezTo>
                    <a:cubicBezTo>
                      <a:pt x="1087029" y="499353"/>
                      <a:pt x="1094178" y="529253"/>
                      <a:pt x="1098467" y="559865"/>
                    </a:cubicBezTo>
                    <a:cubicBezTo>
                      <a:pt x="1102042" y="584782"/>
                      <a:pt x="1104186" y="611122"/>
                      <a:pt x="1104901" y="638175"/>
                    </a:cubicBezTo>
                    <a:cubicBezTo>
                      <a:pt x="1104901" y="638175"/>
                      <a:pt x="1104901" y="638175"/>
                      <a:pt x="881859" y="638175"/>
                    </a:cubicBezTo>
                    <a:cubicBezTo>
                      <a:pt x="881859" y="631056"/>
                      <a:pt x="881144" y="624649"/>
                      <a:pt x="880429" y="618241"/>
                    </a:cubicBezTo>
                    <a:cubicBezTo>
                      <a:pt x="879714" y="604003"/>
                      <a:pt x="877570" y="591189"/>
                      <a:pt x="875425" y="578375"/>
                    </a:cubicBezTo>
                    <a:cubicBezTo>
                      <a:pt x="873280" y="565560"/>
                      <a:pt x="870421" y="552746"/>
                      <a:pt x="867561" y="540644"/>
                    </a:cubicBezTo>
                    <a:cubicBezTo>
                      <a:pt x="866131" y="537084"/>
                      <a:pt x="865417" y="534236"/>
                      <a:pt x="864702" y="531389"/>
                    </a:cubicBezTo>
                    <a:cubicBezTo>
                      <a:pt x="862557" y="524982"/>
                      <a:pt x="861127" y="519286"/>
                      <a:pt x="858983" y="512879"/>
                    </a:cubicBezTo>
                    <a:cubicBezTo>
                      <a:pt x="855408" y="503624"/>
                      <a:pt x="851834" y="495082"/>
                      <a:pt x="848260" y="486539"/>
                    </a:cubicBezTo>
                    <a:cubicBezTo>
                      <a:pt x="844685" y="477284"/>
                      <a:pt x="841111" y="468741"/>
                      <a:pt x="836821" y="460198"/>
                    </a:cubicBezTo>
                    <a:cubicBezTo>
                      <a:pt x="818235" y="423891"/>
                      <a:pt x="794644" y="390431"/>
                      <a:pt x="766763" y="360531"/>
                    </a:cubicBezTo>
                    <a:cubicBezTo>
                      <a:pt x="766763" y="360531"/>
                      <a:pt x="766763" y="360531"/>
                      <a:pt x="924752" y="203200"/>
                    </a:cubicBezTo>
                    <a:close/>
                    <a:moveTo>
                      <a:pt x="465138" y="0"/>
                    </a:moveTo>
                    <a:cubicBezTo>
                      <a:pt x="534470" y="1429"/>
                      <a:pt x="600228" y="13576"/>
                      <a:pt x="663127" y="35013"/>
                    </a:cubicBezTo>
                    <a:cubicBezTo>
                      <a:pt x="672419" y="37871"/>
                      <a:pt x="681711" y="41443"/>
                      <a:pt x="691003" y="45016"/>
                    </a:cubicBezTo>
                    <a:cubicBezTo>
                      <a:pt x="709587" y="51447"/>
                      <a:pt x="727456" y="60022"/>
                      <a:pt x="745325" y="68596"/>
                    </a:cubicBezTo>
                    <a:cubicBezTo>
                      <a:pt x="754617" y="73598"/>
                      <a:pt x="763194" y="77885"/>
                      <a:pt x="771772" y="82887"/>
                    </a:cubicBezTo>
                    <a:cubicBezTo>
                      <a:pt x="789641" y="92891"/>
                      <a:pt x="806080" y="103609"/>
                      <a:pt x="822520" y="115041"/>
                    </a:cubicBezTo>
                    <a:cubicBezTo>
                      <a:pt x="830382" y="120758"/>
                      <a:pt x="838245" y="125760"/>
                      <a:pt x="846107" y="131476"/>
                    </a:cubicBezTo>
                    <a:cubicBezTo>
                      <a:pt x="850396" y="134334"/>
                      <a:pt x="853970" y="137192"/>
                      <a:pt x="858258" y="140765"/>
                    </a:cubicBezTo>
                    <a:cubicBezTo>
                      <a:pt x="866121" y="146481"/>
                      <a:pt x="873983" y="152912"/>
                      <a:pt x="881131" y="159343"/>
                    </a:cubicBezTo>
                    <a:cubicBezTo>
                      <a:pt x="888993" y="165774"/>
                      <a:pt x="896141" y="172205"/>
                      <a:pt x="903288" y="179350"/>
                    </a:cubicBezTo>
                    <a:cubicBezTo>
                      <a:pt x="903288" y="179350"/>
                      <a:pt x="903288" y="179350"/>
                      <a:pt x="744610" y="336550"/>
                    </a:cubicBezTo>
                    <a:cubicBezTo>
                      <a:pt x="721738" y="315114"/>
                      <a:pt x="696721" y="296535"/>
                      <a:pt x="669560" y="279386"/>
                    </a:cubicBezTo>
                    <a:cubicBezTo>
                      <a:pt x="663842" y="276528"/>
                      <a:pt x="658124" y="273670"/>
                      <a:pt x="652406" y="270812"/>
                    </a:cubicBezTo>
                    <a:cubicBezTo>
                      <a:pt x="641684" y="265096"/>
                      <a:pt x="630248" y="260094"/>
                      <a:pt x="618097" y="255092"/>
                    </a:cubicBezTo>
                    <a:cubicBezTo>
                      <a:pt x="609520" y="250805"/>
                      <a:pt x="600228" y="247946"/>
                      <a:pt x="590936" y="244374"/>
                    </a:cubicBezTo>
                    <a:cubicBezTo>
                      <a:pt x="588077" y="243659"/>
                      <a:pt x="584503" y="242230"/>
                      <a:pt x="581644" y="241516"/>
                    </a:cubicBezTo>
                    <a:cubicBezTo>
                      <a:pt x="575926" y="239372"/>
                      <a:pt x="569493" y="237943"/>
                      <a:pt x="563060" y="235799"/>
                    </a:cubicBezTo>
                    <a:cubicBezTo>
                      <a:pt x="553768" y="233656"/>
                      <a:pt x="544476" y="231512"/>
                      <a:pt x="535185" y="229368"/>
                    </a:cubicBezTo>
                    <a:cubicBezTo>
                      <a:pt x="525178" y="227225"/>
                      <a:pt x="515171" y="225796"/>
                      <a:pt x="505165" y="224367"/>
                    </a:cubicBezTo>
                    <a:cubicBezTo>
                      <a:pt x="492299" y="222937"/>
                      <a:pt x="478718" y="222223"/>
                      <a:pt x="465138" y="221508"/>
                    </a:cubicBezTo>
                    <a:cubicBezTo>
                      <a:pt x="465138" y="221508"/>
                      <a:pt x="465138" y="221508"/>
                      <a:pt x="465138" y="0"/>
                    </a:cubicBezTo>
                    <a:close/>
                    <a:moveTo>
                      <a:pt x="434975" y="0"/>
                    </a:moveTo>
                    <a:cubicBezTo>
                      <a:pt x="434975" y="221508"/>
                      <a:pt x="434975" y="221508"/>
                      <a:pt x="434975" y="221508"/>
                    </a:cubicBezTo>
                    <a:cubicBezTo>
                      <a:pt x="327301" y="225081"/>
                      <a:pt x="230323" y="267954"/>
                      <a:pt x="156876" y="336550"/>
                    </a:cubicBezTo>
                    <a:cubicBezTo>
                      <a:pt x="156876" y="336550"/>
                      <a:pt x="156876" y="336550"/>
                      <a:pt x="0" y="179350"/>
                    </a:cubicBezTo>
                    <a:cubicBezTo>
                      <a:pt x="10696" y="169347"/>
                      <a:pt x="21392" y="159343"/>
                      <a:pt x="32801" y="150054"/>
                    </a:cubicBezTo>
                    <a:cubicBezTo>
                      <a:pt x="48489" y="137192"/>
                      <a:pt x="63463" y="125760"/>
                      <a:pt x="79864" y="115041"/>
                    </a:cubicBezTo>
                    <a:cubicBezTo>
                      <a:pt x="87708" y="109325"/>
                      <a:pt x="96265" y="103609"/>
                      <a:pt x="104109" y="98607"/>
                    </a:cubicBezTo>
                    <a:cubicBezTo>
                      <a:pt x="124788" y="85031"/>
                      <a:pt x="146893" y="72883"/>
                      <a:pt x="168998" y="62165"/>
                    </a:cubicBezTo>
                    <a:cubicBezTo>
                      <a:pt x="196095" y="50018"/>
                      <a:pt x="223905" y="39300"/>
                      <a:pt x="253141" y="30011"/>
                    </a:cubicBezTo>
                    <a:cubicBezTo>
                      <a:pt x="258132" y="28582"/>
                      <a:pt x="263124" y="27153"/>
                      <a:pt x="267402" y="25723"/>
                    </a:cubicBezTo>
                    <a:cubicBezTo>
                      <a:pt x="277385" y="22865"/>
                      <a:pt x="287368" y="20007"/>
                      <a:pt x="296638" y="17863"/>
                    </a:cubicBezTo>
                    <a:cubicBezTo>
                      <a:pt x="306621" y="15720"/>
                      <a:pt x="316605" y="13576"/>
                      <a:pt x="326588" y="11433"/>
                    </a:cubicBezTo>
                    <a:cubicBezTo>
                      <a:pt x="351545" y="6431"/>
                      <a:pt x="377929" y="3573"/>
                      <a:pt x="402886" y="1429"/>
                    </a:cubicBezTo>
                    <a:cubicBezTo>
                      <a:pt x="414296" y="714"/>
                      <a:pt x="424992" y="0"/>
                      <a:pt x="434975" y="0"/>
                    </a:cubicBezTo>
                    <a:close/>
                  </a:path>
                </a:pathLst>
              </a:custGeom>
              <a:solidFill>
                <a:srgbClr val="122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sp>
        <p:nvSpPr>
          <p:cNvPr id="64" name="Oval 20">
            <a:extLst>
              <a:ext uri="{FF2B5EF4-FFF2-40B4-BE49-F238E27FC236}">
                <a16:creationId xmlns:a16="http://schemas.microsoft.com/office/drawing/2014/main" id="{FBECA5DC-32CB-4041-AF28-82F136E99CEB}"/>
              </a:ext>
            </a:extLst>
          </p:cNvPr>
          <p:cNvSpPr>
            <a:spLocks noChangeAspect="1" noChangeArrowheads="1"/>
          </p:cNvSpPr>
          <p:nvPr/>
        </p:nvSpPr>
        <p:spPr bwMode="auto">
          <a:xfrm>
            <a:off x="5469401" y="2271532"/>
            <a:ext cx="306910" cy="306910"/>
          </a:xfrm>
          <a:prstGeom prst="ellipse">
            <a:avLst/>
          </a:prstGeom>
          <a:solidFill>
            <a:srgbClr val="12284C">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100000"/>
                  </a:srgbClr>
                </a:solidFill>
                <a:effectLst/>
                <a:uLnTx/>
                <a:uFillTx/>
                <a:latin typeface="Open Sans"/>
                <a:ea typeface="+mn-ea"/>
                <a:cs typeface="+mn-cs"/>
              </a:rPr>
              <a:t>3</a:t>
            </a:r>
          </a:p>
        </p:txBody>
      </p:sp>
      <p:cxnSp>
        <p:nvCxnSpPr>
          <p:cNvPr id="7" name="Straight Arrow Connector 6">
            <a:extLst>
              <a:ext uri="{FF2B5EF4-FFF2-40B4-BE49-F238E27FC236}">
                <a16:creationId xmlns:a16="http://schemas.microsoft.com/office/drawing/2014/main" id="{A4C86571-581B-42E9-8C2D-C96F1A913521}"/>
              </a:ext>
            </a:extLst>
          </p:cNvPr>
          <p:cNvCxnSpPr>
            <a:cxnSpLocks/>
            <a:stCxn id="6" idx="3"/>
            <a:endCxn id="19" idx="1"/>
          </p:cNvCxnSpPr>
          <p:nvPr/>
        </p:nvCxnSpPr>
        <p:spPr>
          <a:xfrm>
            <a:off x="1570850" y="4159696"/>
            <a:ext cx="351758" cy="2853"/>
          </a:xfrm>
          <a:prstGeom prst="straightConnector1">
            <a:avLst/>
          </a:prstGeom>
          <a:ln w="19050" cap="rnd" cmpd="sng" algn="ctr">
            <a:solidFill>
              <a:srgbClr val="12284C"/>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CBDA2798-3C7D-4A66-9CA3-6C72CEAB3A59}"/>
              </a:ext>
            </a:extLst>
          </p:cNvPr>
          <p:cNvCxnSpPr>
            <a:cxnSpLocks/>
            <a:stCxn id="19" idx="3"/>
            <a:endCxn id="50" idx="1"/>
          </p:cNvCxnSpPr>
          <p:nvPr/>
        </p:nvCxnSpPr>
        <p:spPr>
          <a:xfrm>
            <a:off x="4221865" y="4162549"/>
            <a:ext cx="271088" cy="0"/>
          </a:xfrm>
          <a:prstGeom prst="straightConnector1">
            <a:avLst/>
          </a:prstGeom>
          <a:ln w="19050" cap="rnd" cmpd="sng" algn="ctr">
            <a:solidFill>
              <a:srgbClr val="12284C"/>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B1A063E3-90BF-4E85-A24A-378468B5705A}"/>
              </a:ext>
            </a:extLst>
          </p:cNvPr>
          <p:cNvSpPr/>
          <p:nvPr/>
        </p:nvSpPr>
        <p:spPr>
          <a:xfrm>
            <a:off x="6944799" y="1473693"/>
            <a:ext cx="5007217" cy="4434997"/>
          </a:xfrm>
          <a:prstGeom prst="rect">
            <a:avLst/>
          </a:prstGeom>
          <a:solidFill>
            <a:srgbClr val="BFD4E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72" name="bcgIcons_AbstractionInHiddenLayers">
            <a:extLst>
              <a:ext uri="{FF2B5EF4-FFF2-40B4-BE49-F238E27FC236}">
                <a16:creationId xmlns:a16="http://schemas.microsoft.com/office/drawing/2014/main" id="{2B26B5E7-0926-4107-BFBE-2746C34F9AD8}"/>
              </a:ext>
            </a:extLst>
          </p:cNvPr>
          <p:cNvGrpSpPr>
            <a:grpSpLocks noChangeAspect="1"/>
          </p:cNvGrpSpPr>
          <p:nvPr/>
        </p:nvGrpSpPr>
        <p:grpSpPr bwMode="auto">
          <a:xfrm>
            <a:off x="7195709" y="3374651"/>
            <a:ext cx="787168" cy="787898"/>
            <a:chOff x="1682" y="0"/>
            <a:chExt cx="4316" cy="4320"/>
          </a:xfrm>
        </p:grpSpPr>
        <p:sp>
          <p:nvSpPr>
            <p:cNvPr id="73" name="AutoShape 30">
              <a:extLst>
                <a:ext uri="{FF2B5EF4-FFF2-40B4-BE49-F238E27FC236}">
                  <a16:creationId xmlns:a16="http://schemas.microsoft.com/office/drawing/2014/main" id="{BEF6A529-658F-4215-B7E0-CDB5F391B09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74" name="Freeform 32">
              <a:extLst>
                <a:ext uri="{FF2B5EF4-FFF2-40B4-BE49-F238E27FC236}">
                  <a16:creationId xmlns:a16="http://schemas.microsoft.com/office/drawing/2014/main" id="{AC80FBF1-7285-42F8-8A5F-129670B6D9FC}"/>
                </a:ext>
              </a:extLst>
            </p:cNvPr>
            <p:cNvSpPr>
              <a:spLocks noEditPoints="1"/>
            </p:cNvSpPr>
            <p:nvPr/>
          </p:nvSpPr>
          <p:spPr bwMode="auto">
            <a:xfrm>
              <a:off x="2111" y="1136"/>
              <a:ext cx="2145" cy="2044"/>
            </a:xfrm>
            <a:custGeom>
              <a:avLst/>
              <a:gdLst>
                <a:gd name="T0" fmla="*/ 559 w 1145"/>
                <a:gd name="T1" fmla="*/ 1052 h 1090"/>
                <a:gd name="T2" fmla="*/ 559 w 1145"/>
                <a:gd name="T3" fmla="*/ 1084 h 1090"/>
                <a:gd name="T4" fmla="*/ 544 w 1145"/>
                <a:gd name="T5" fmla="*/ 1090 h 1090"/>
                <a:gd name="T6" fmla="*/ 528 w 1145"/>
                <a:gd name="T7" fmla="*/ 1084 h 1090"/>
                <a:gd name="T8" fmla="*/ 6 w 1145"/>
                <a:gd name="T9" fmla="*/ 562 h 1090"/>
                <a:gd name="T10" fmla="*/ 0 w 1145"/>
                <a:gd name="T11" fmla="*/ 546 h 1090"/>
                <a:gd name="T12" fmla="*/ 6 w 1145"/>
                <a:gd name="T13" fmla="*/ 530 h 1090"/>
                <a:gd name="T14" fmla="*/ 528 w 1145"/>
                <a:gd name="T15" fmla="*/ 8 h 1090"/>
                <a:gd name="T16" fmla="*/ 559 w 1145"/>
                <a:gd name="T17" fmla="*/ 8 h 1090"/>
                <a:gd name="T18" fmla="*/ 639 w 1145"/>
                <a:gd name="T19" fmla="*/ 88 h 1090"/>
                <a:gd name="T20" fmla="*/ 608 w 1145"/>
                <a:gd name="T21" fmla="*/ 119 h 1090"/>
                <a:gd name="T22" fmla="*/ 544 w 1145"/>
                <a:gd name="T23" fmla="*/ 55 h 1090"/>
                <a:gd name="T24" fmla="*/ 53 w 1145"/>
                <a:gd name="T25" fmla="*/ 546 h 1090"/>
                <a:gd name="T26" fmla="*/ 559 w 1145"/>
                <a:gd name="T27" fmla="*/ 1052 h 1090"/>
                <a:gd name="T28" fmla="*/ 306 w 1145"/>
                <a:gd name="T29" fmla="*/ 546 h 1090"/>
                <a:gd name="T30" fmla="*/ 797 w 1145"/>
                <a:gd name="T31" fmla="*/ 55 h 1090"/>
                <a:gd name="T32" fmla="*/ 861 w 1145"/>
                <a:gd name="T33" fmla="*/ 119 h 1090"/>
                <a:gd name="T34" fmla="*/ 892 w 1145"/>
                <a:gd name="T35" fmla="*/ 88 h 1090"/>
                <a:gd name="T36" fmla="*/ 812 w 1145"/>
                <a:gd name="T37" fmla="*/ 8 h 1090"/>
                <a:gd name="T38" fmla="*/ 781 w 1145"/>
                <a:gd name="T39" fmla="*/ 8 h 1090"/>
                <a:gd name="T40" fmla="*/ 259 w 1145"/>
                <a:gd name="T41" fmla="*/ 530 h 1090"/>
                <a:gd name="T42" fmla="*/ 259 w 1145"/>
                <a:gd name="T43" fmla="*/ 562 h 1090"/>
                <a:gd name="T44" fmla="*/ 781 w 1145"/>
                <a:gd name="T45" fmla="*/ 1084 h 1090"/>
                <a:gd name="T46" fmla="*/ 797 w 1145"/>
                <a:gd name="T47" fmla="*/ 1090 h 1090"/>
                <a:gd name="T48" fmla="*/ 812 w 1145"/>
                <a:gd name="T49" fmla="*/ 1084 h 1090"/>
                <a:gd name="T50" fmla="*/ 812 w 1145"/>
                <a:gd name="T51" fmla="*/ 1052 h 1090"/>
                <a:gd name="T52" fmla="*/ 306 w 1145"/>
                <a:gd name="T53" fmla="*/ 546 h 1090"/>
                <a:gd name="T54" fmla="*/ 559 w 1145"/>
                <a:gd name="T55" fmla="*/ 546 h 1090"/>
                <a:gd name="T56" fmla="*/ 1049 w 1145"/>
                <a:gd name="T57" fmla="*/ 55 h 1090"/>
                <a:gd name="T58" fmla="*/ 1114 w 1145"/>
                <a:gd name="T59" fmla="*/ 119 h 1090"/>
                <a:gd name="T60" fmla="*/ 1145 w 1145"/>
                <a:gd name="T61" fmla="*/ 88 h 1090"/>
                <a:gd name="T62" fmla="*/ 1065 w 1145"/>
                <a:gd name="T63" fmla="*/ 8 h 1090"/>
                <a:gd name="T64" fmla="*/ 1034 w 1145"/>
                <a:gd name="T65" fmla="*/ 8 h 1090"/>
                <a:gd name="T66" fmla="*/ 512 w 1145"/>
                <a:gd name="T67" fmla="*/ 530 h 1090"/>
                <a:gd name="T68" fmla="*/ 505 w 1145"/>
                <a:gd name="T69" fmla="*/ 546 h 1090"/>
                <a:gd name="T70" fmla="*/ 512 w 1145"/>
                <a:gd name="T71" fmla="*/ 562 h 1090"/>
                <a:gd name="T72" fmla="*/ 1034 w 1145"/>
                <a:gd name="T73" fmla="*/ 1084 h 1090"/>
                <a:gd name="T74" fmla="*/ 1049 w 1145"/>
                <a:gd name="T75" fmla="*/ 1090 h 1090"/>
                <a:gd name="T76" fmla="*/ 1065 w 1145"/>
                <a:gd name="T77" fmla="*/ 1084 h 1090"/>
                <a:gd name="T78" fmla="*/ 1065 w 1145"/>
                <a:gd name="T79" fmla="*/ 1052 h 1090"/>
                <a:gd name="T80" fmla="*/ 559 w 1145"/>
                <a:gd name="T81" fmla="*/ 546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5" h="1090">
                  <a:moveTo>
                    <a:pt x="559" y="1052"/>
                  </a:moveTo>
                  <a:cubicBezTo>
                    <a:pt x="568" y="1061"/>
                    <a:pt x="568" y="1075"/>
                    <a:pt x="559" y="1084"/>
                  </a:cubicBezTo>
                  <a:cubicBezTo>
                    <a:pt x="555" y="1088"/>
                    <a:pt x="549" y="1090"/>
                    <a:pt x="544" y="1090"/>
                  </a:cubicBezTo>
                  <a:cubicBezTo>
                    <a:pt x="538" y="1090"/>
                    <a:pt x="532" y="1088"/>
                    <a:pt x="528" y="1084"/>
                  </a:cubicBezTo>
                  <a:cubicBezTo>
                    <a:pt x="6" y="562"/>
                    <a:pt x="6" y="562"/>
                    <a:pt x="6" y="562"/>
                  </a:cubicBezTo>
                  <a:cubicBezTo>
                    <a:pt x="2" y="557"/>
                    <a:pt x="0" y="552"/>
                    <a:pt x="0" y="546"/>
                  </a:cubicBezTo>
                  <a:cubicBezTo>
                    <a:pt x="0" y="540"/>
                    <a:pt x="2" y="535"/>
                    <a:pt x="6" y="530"/>
                  </a:cubicBezTo>
                  <a:cubicBezTo>
                    <a:pt x="528" y="8"/>
                    <a:pt x="528" y="8"/>
                    <a:pt x="528" y="8"/>
                  </a:cubicBezTo>
                  <a:cubicBezTo>
                    <a:pt x="537" y="0"/>
                    <a:pt x="551" y="0"/>
                    <a:pt x="559" y="8"/>
                  </a:cubicBezTo>
                  <a:cubicBezTo>
                    <a:pt x="639" y="88"/>
                    <a:pt x="639" y="88"/>
                    <a:pt x="639" y="88"/>
                  </a:cubicBezTo>
                  <a:cubicBezTo>
                    <a:pt x="608" y="119"/>
                    <a:pt x="608" y="119"/>
                    <a:pt x="608" y="119"/>
                  </a:cubicBezTo>
                  <a:cubicBezTo>
                    <a:pt x="544" y="55"/>
                    <a:pt x="544" y="55"/>
                    <a:pt x="544" y="55"/>
                  </a:cubicBezTo>
                  <a:cubicBezTo>
                    <a:pt x="53" y="546"/>
                    <a:pt x="53" y="546"/>
                    <a:pt x="53" y="546"/>
                  </a:cubicBezTo>
                  <a:lnTo>
                    <a:pt x="559" y="1052"/>
                  </a:lnTo>
                  <a:close/>
                  <a:moveTo>
                    <a:pt x="306" y="546"/>
                  </a:moveTo>
                  <a:cubicBezTo>
                    <a:pt x="797" y="55"/>
                    <a:pt x="797" y="55"/>
                    <a:pt x="797" y="55"/>
                  </a:cubicBezTo>
                  <a:cubicBezTo>
                    <a:pt x="861" y="119"/>
                    <a:pt x="861" y="119"/>
                    <a:pt x="861" y="119"/>
                  </a:cubicBezTo>
                  <a:cubicBezTo>
                    <a:pt x="892" y="88"/>
                    <a:pt x="892" y="88"/>
                    <a:pt x="892" y="88"/>
                  </a:cubicBezTo>
                  <a:cubicBezTo>
                    <a:pt x="812" y="8"/>
                    <a:pt x="812" y="8"/>
                    <a:pt x="812" y="8"/>
                  </a:cubicBezTo>
                  <a:cubicBezTo>
                    <a:pt x="804" y="0"/>
                    <a:pt x="790" y="0"/>
                    <a:pt x="781" y="8"/>
                  </a:cubicBezTo>
                  <a:cubicBezTo>
                    <a:pt x="259" y="530"/>
                    <a:pt x="259" y="530"/>
                    <a:pt x="259" y="530"/>
                  </a:cubicBezTo>
                  <a:cubicBezTo>
                    <a:pt x="250" y="539"/>
                    <a:pt x="250" y="553"/>
                    <a:pt x="259" y="562"/>
                  </a:cubicBezTo>
                  <a:cubicBezTo>
                    <a:pt x="781" y="1084"/>
                    <a:pt x="781" y="1084"/>
                    <a:pt x="781" y="1084"/>
                  </a:cubicBezTo>
                  <a:cubicBezTo>
                    <a:pt x="785" y="1088"/>
                    <a:pt x="791" y="1090"/>
                    <a:pt x="797" y="1090"/>
                  </a:cubicBezTo>
                  <a:cubicBezTo>
                    <a:pt x="802" y="1090"/>
                    <a:pt x="808" y="1088"/>
                    <a:pt x="812" y="1084"/>
                  </a:cubicBezTo>
                  <a:cubicBezTo>
                    <a:pt x="821" y="1075"/>
                    <a:pt x="821" y="1061"/>
                    <a:pt x="812" y="1052"/>
                  </a:cubicBezTo>
                  <a:lnTo>
                    <a:pt x="306" y="546"/>
                  </a:lnTo>
                  <a:close/>
                  <a:moveTo>
                    <a:pt x="559" y="546"/>
                  </a:moveTo>
                  <a:cubicBezTo>
                    <a:pt x="1049" y="55"/>
                    <a:pt x="1049" y="55"/>
                    <a:pt x="1049" y="55"/>
                  </a:cubicBezTo>
                  <a:cubicBezTo>
                    <a:pt x="1114" y="119"/>
                    <a:pt x="1114" y="119"/>
                    <a:pt x="1114" y="119"/>
                  </a:cubicBezTo>
                  <a:cubicBezTo>
                    <a:pt x="1145" y="88"/>
                    <a:pt x="1145" y="88"/>
                    <a:pt x="1145" y="88"/>
                  </a:cubicBezTo>
                  <a:cubicBezTo>
                    <a:pt x="1065" y="8"/>
                    <a:pt x="1065" y="8"/>
                    <a:pt x="1065" y="8"/>
                  </a:cubicBezTo>
                  <a:cubicBezTo>
                    <a:pt x="1056" y="0"/>
                    <a:pt x="1042" y="0"/>
                    <a:pt x="1034" y="8"/>
                  </a:cubicBezTo>
                  <a:cubicBezTo>
                    <a:pt x="512" y="530"/>
                    <a:pt x="512" y="530"/>
                    <a:pt x="512" y="530"/>
                  </a:cubicBezTo>
                  <a:cubicBezTo>
                    <a:pt x="508" y="535"/>
                    <a:pt x="505" y="540"/>
                    <a:pt x="505" y="546"/>
                  </a:cubicBezTo>
                  <a:cubicBezTo>
                    <a:pt x="505" y="552"/>
                    <a:pt x="508" y="557"/>
                    <a:pt x="512" y="562"/>
                  </a:cubicBezTo>
                  <a:cubicBezTo>
                    <a:pt x="1034" y="1084"/>
                    <a:pt x="1034" y="1084"/>
                    <a:pt x="1034" y="1084"/>
                  </a:cubicBezTo>
                  <a:cubicBezTo>
                    <a:pt x="1038" y="1088"/>
                    <a:pt x="1044" y="1090"/>
                    <a:pt x="1049" y="1090"/>
                  </a:cubicBezTo>
                  <a:cubicBezTo>
                    <a:pt x="1055" y="1090"/>
                    <a:pt x="1061" y="1088"/>
                    <a:pt x="1065" y="1084"/>
                  </a:cubicBezTo>
                  <a:cubicBezTo>
                    <a:pt x="1074" y="1075"/>
                    <a:pt x="1074" y="1061"/>
                    <a:pt x="1065" y="1052"/>
                  </a:cubicBezTo>
                  <a:lnTo>
                    <a:pt x="559" y="546"/>
                  </a:lnTo>
                  <a:close/>
                </a:path>
              </a:pathLst>
            </a:custGeom>
            <a:solidFill>
              <a:srgbClr val="071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75" name="Freeform 33">
              <a:extLst>
                <a:ext uri="{FF2B5EF4-FFF2-40B4-BE49-F238E27FC236}">
                  <a16:creationId xmlns:a16="http://schemas.microsoft.com/office/drawing/2014/main" id="{EC838234-51CE-4AC4-A599-BCBFEC32F34F}"/>
                </a:ext>
              </a:extLst>
            </p:cNvPr>
            <p:cNvSpPr>
              <a:spLocks/>
            </p:cNvSpPr>
            <p:nvPr/>
          </p:nvSpPr>
          <p:spPr bwMode="auto">
            <a:xfrm>
              <a:off x="3531" y="1136"/>
              <a:ext cx="2038" cy="2044"/>
            </a:xfrm>
            <a:custGeom>
              <a:avLst/>
              <a:gdLst>
                <a:gd name="T0" fmla="*/ 1082 w 1088"/>
                <a:gd name="T1" fmla="*/ 530 h 1090"/>
                <a:gd name="T2" fmla="*/ 560 w 1088"/>
                <a:gd name="T3" fmla="*/ 8 h 1090"/>
                <a:gd name="T4" fmla="*/ 529 w 1088"/>
                <a:gd name="T5" fmla="*/ 8 h 1090"/>
                <a:gd name="T6" fmla="*/ 7 w 1088"/>
                <a:gd name="T7" fmla="*/ 530 h 1090"/>
                <a:gd name="T8" fmla="*/ 0 w 1088"/>
                <a:gd name="T9" fmla="*/ 546 h 1090"/>
                <a:gd name="T10" fmla="*/ 7 w 1088"/>
                <a:gd name="T11" fmla="*/ 562 h 1090"/>
                <a:gd name="T12" fmla="*/ 529 w 1088"/>
                <a:gd name="T13" fmla="*/ 1084 h 1090"/>
                <a:gd name="T14" fmla="*/ 544 w 1088"/>
                <a:gd name="T15" fmla="*/ 1090 h 1090"/>
                <a:gd name="T16" fmla="*/ 560 w 1088"/>
                <a:gd name="T17" fmla="*/ 1084 h 1090"/>
                <a:gd name="T18" fmla="*/ 1082 w 1088"/>
                <a:gd name="T19" fmla="*/ 562 h 1090"/>
                <a:gd name="T20" fmla="*/ 1088 w 1088"/>
                <a:gd name="T21" fmla="*/ 546 h 1090"/>
                <a:gd name="T22" fmla="*/ 1082 w 1088"/>
                <a:gd name="T23" fmla="*/ 53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8" h="1090">
                  <a:moveTo>
                    <a:pt x="1082" y="530"/>
                  </a:moveTo>
                  <a:cubicBezTo>
                    <a:pt x="560" y="8"/>
                    <a:pt x="560" y="8"/>
                    <a:pt x="560" y="8"/>
                  </a:cubicBezTo>
                  <a:cubicBezTo>
                    <a:pt x="551" y="0"/>
                    <a:pt x="537" y="0"/>
                    <a:pt x="529" y="8"/>
                  </a:cubicBezTo>
                  <a:cubicBezTo>
                    <a:pt x="7" y="530"/>
                    <a:pt x="7" y="530"/>
                    <a:pt x="7" y="530"/>
                  </a:cubicBezTo>
                  <a:cubicBezTo>
                    <a:pt x="3" y="535"/>
                    <a:pt x="0" y="540"/>
                    <a:pt x="0" y="546"/>
                  </a:cubicBezTo>
                  <a:cubicBezTo>
                    <a:pt x="0" y="552"/>
                    <a:pt x="3" y="557"/>
                    <a:pt x="7" y="562"/>
                  </a:cubicBezTo>
                  <a:cubicBezTo>
                    <a:pt x="529" y="1084"/>
                    <a:pt x="529" y="1084"/>
                    <a:pt x="529" y="1084"/>
                  </a:cubicBezTo>
                  <a:cubicBezTo>
                    <a:pt x="533" y="1088"/>
                    <a:pt x="539" y="1090"/>
                    <a:pt x="544" y="1090"/>
                  </a:cubicBezTo>
                  <a:cubicBezTo>
                    <a:pt x="550" y="1090"/>
                    <a:pt x="556" y="1088"/>
                    <a:pt x="560" y="1084"/>
                  </a:cubicBezTo>
                  <a:cubicBezTo>
                    <a:pt x="1082" y="562"/>
                    <a:pt x="1082" y="562"/>
                    <a:pt x="1082" y="562"/>
                  </a:cubicBezTo>
                  <a:cubicBezTo>
                    <a:pt x="1086" y="557"/>
                    <a:pt x="1088" y="552"/>
                    <a:pt x="1088" y="546"/>
                  </a:cubicBezTo>
                  <a:cubicBezTo>
                    <a:pt x="1088" y="540"/>
                    <a:pt x="1086" y="535"/>
                    <a:pt x="1082" y="530"/>
                  </a:cubicBezTo>
                  <a:close/>
                </a:path>
              </a:pathLst>
            </a:custGeom>
            <a:solidFill>
              <a:srgbClr val="122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cxnSp>
        <p:nvCxnSpPr>
          <p:cNvPr id="79" name="Straight Arrow Connector 78">
            <a:extLst>
              <a:ext uri="{FF2B5EF4-FFF2-40B4-BE49-F238E27FC236}">
                <a16:creationId xmlns:a16="http://schemas.microsoft.com/office/drawing/2014/main" id="{2228B1B3-BCA5-45F9-97EA-61D8E372D765}"/>
              </a:ext>
            </a:extLst>
          </p:cNvPr>
          <p:cNvCxnSpPr>
            <a:cxnSpLocks/>
            <a:stCxn id="50" idx="3"/>
          </p:cNvCxnSpPr>
          <p:nvPr/>
        </p:nvCxnSpPr>
        <p:spPr>
          <a:xfrm>
            <a:off x="6752759" y="4162549"/>
            <a:ext cx="521193" cy="0"/>
          </a:xfrm>
          <a:prstGeom prst="straightConnector1">
            <a:avLst/>
          </a:prstGeom>
          <a:ln w="19050" cap="rnd" cmpd="sng" algn="ctr">
            <a:solidFill>
              <a:srgbClr val="12284C"/>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66ADC747-0FBD-4094-B4C8-479666921DCD}"/>
              </a:ext>
            </a:extLst>
          </p:cNvPr>
          <p:cNvSpPr txBox="1"/>
          <p:nvPr/>
        </p:nvSpPr>
        <p:spPr>
          <a:xfrm>
            <a:off x="7180163" y="1550457"/>
            <a:ext cx="4536489"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84C"/>
                </a:solidFill>
                <a:effectLst/>
                <a:uLnTx/>
                <a:uFillTx/>
                <a:latin typeface="Open Sans"/>
                <a:ea typeface="+mn-ea"/>
                <a:cs typeface="+mn-cs"/>
              </a:rPr>
              <a:t>Task Force allocation of EANS resources to non-public schools</a:t>
            </a:r>
          </a:p>
        </p:txBody>
      </p:sp>
      <p:sp>
        <p:nvSpPr>
          <p:cNvPr id="90" name="Rectangle: Rounded Corners 89">
            <a:extLst>
              <a:ext uri="{FF2B5EF4-FFF2-40B4-BE49-F238E27FC236}">
                <a16:creationId xmlns:a16="http://schemas.microsoft.com/office/drawing/2014/main" id="{A610114F-D959-49C6-A84D-DD7990CB7FC6}"/>
              </a:ext>
            </a:extLst>
          </p:cNvPr>
          <p:cNvSpPr/>
          <p:nvPr/>
        </p:nvSpPr>
        <p:spPr>
          <a:xfrm>
            <a:off x="9165332" y="2935700"/>
            <a:ext cx="2671893" cy="2776895"/>
          </a:xfrm>
          <a:prstGeom prst="roundRect">
            <a:avLst/>
          </a:prstGeom>
          <a:solidFill>
            <a:srgbClr val="8994A5"/>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Allocation of resources </a:t>
            </a:r>
            <a:r>
              <a:rPr kumimoji="0" lang="en-US" sz="1600" b="0" i="0" u="none" strike="noStrike" kern="1200" cap="none" spc="0" normalizeH="0" baseline="0" noProof="0" dirty="0">
                <a:ln>
                  <a:noFill/>
                </a:ln>
                <a:solidFill>
                  <a:srgbClr val="000000"/>
                </a:solidFill>
                <a:effectLst/>
                <a:uLnTx/>
                <a:uFillTx/>
                <a:latin typeface="Open Sans"/>
                <a:ea typeface="+mn-ea"/>
                <a:cs typeface="+mn-cs"/>
              </a:rPr>
              <a:t>to applications to maximize impact of funds across the portfolio using a decision framework that prioritizes spending of funds according to federal and state criteria</a:t>
            </a:r>
          </a:p>
        </p:txBody>
      </p:sp>
      <p:sp>
        <p:nvSpPr>
          <p:cNvPr id="91" name="Oval 20">
            <a:extLst>
              <a:ext uri="{FF2B5EF4-FFF2-40B4-BE49-F238E27FC236}">
                <a16:creationId xmlns:a16="http://schemas.microsoft.com/office/drawing/2014/main" id="{4A84BE89-4AC1-4780-B0B7-096C2B651241}"/>
              </a:ext>
            </a:extLst>
          </p:cNvPr>
          <p:cNvSpPr>
            <a:spLocks noChangeAspect="1" noChangeArrowheads="1"/>
          </p:cNvSpPr>
          <p:nvPr/>
        </p:nvSpPr>
        <p:spPr bwMode="auto">
          <a:xfrm>
            <a:off x="7857340" y="2271532"/>
            <a:ext cx="306910" cy="306910"/>
          </a:xfrm>
          <a:prstGeom prst="ellipse">
            <a:avLst/>
          </a:prstGeom>
          <a:solidFill>
            <a:srgbClr val="12284C">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100000"/>
                  </a:srgbClr>
                </a:solidFill>
                <a:effectLst/>
                <a:uLnTx/>
                <a:uFillTx/>
                <a:latin typeface="Open Sans"/>
                <a:ea typeface="+mn-ea"/>
                <a:cs typeface="+mn-cs"/>
              </a:rPr>
              <a:t>4</a:t>
            </a:r>
          </a:p>
        </p:txBody>
      </p:sp>
      <p:sp>
        <p:nvSpPr>
          <p:cNvPr id="94" name="TextBox 93">
            <a:extLst>
              <a:ext uri="{FF2B5EF4-FFF2-40B4-BE49-F238E27FC236}">
                <a16:creationId xmlns:a16="http://schemas.microsoft.com/office/drawing/2014/main" id="{CCC7B623-DEAE-4AD1-8677-9BAB0DB0E05F}"/>
              </a:ext>
            </a:extLst>
          </p:cNvPr>
          <p:cNvSpPr txBox="1"/>
          <p:nvPr/>
        </p:nvSpPr>
        <p:spPr>
          <a:xfrm>
            <a:off x="1922609" y="5384306"/>
            <a:ext cx="4616951" cy="5243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Open Sans"/>
                <a:ea typeface="+mn-ea"/>
                <a:cs typeface="+mn-cs"/>
              </a:rPr>
              <a:t>Individual applications and reviews available to entire Task Force and public</a:t>
            </a:r>
          </a:p>
        </p:txBody>
      </p:sp>
      <p:sp>
        <p:nvSpPr>
          <p:cNvPr id="96" name="Rectangle: Rounded Corners 95">
            <a:extLst>
              <a:ext uri="{FF2B5EF4-FFF2-40B4-BE49-F238E27FC236}">
                <a16:creationId xmlns:a16="http://schemas.microsoft.com/office/drawing/2014/main" id="{0BC74F90-F519-4195-A937-248BE356CA42}"/>
              </a:ext>
            </a:extLst>
          </p:cNvPr>
          <p:cNvSpPr/>
          <p:nvPr/>
        </p:nvSpPr>
        <p:spPr>
          <a:xfrm>
            <a:off x="7247471" y="2935700"/>
            <a:ext cx="1526648" cy="2776895"/>
          </a:xfrm>
          <a:prstGeom prst="roundRect">
            <a:avLst/>
          </a:prstGeom>
          <a:solidFill>
            <a:srgbClr val="8994A5"/>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Summary reporting </a:t>
            </a:r>
            <a:r>
              <a:rPr kumimoji="0" lang="en-US" sz="1600" b="0" i="0" u="none" strike="noStrike" kern="1200" cap="none" spc="0" normalizeH="0" baseline="0" noProof="0" dirty="0">
                <a:ln>
                  <a:noFill/>
                </a:ln>
                <a:solidFill>
                  <a:srgbClr val="000000"/>
                </a:solidFill>
                <a:effectLst/>
                <a:uLnTx/>
                <a:uFillTx/>
                <a:latin typeface="Open Sans"/>
                <a:ea typeface="+mn-ea"/>
                <a:cs typeface="+mn-cs"/>
              </a:rPr>
              <a:t>of applications, needs, and amounts requested to facilitate Task Force decision making</a:t>
            </a:r>
          </a:p>
        </p:txBody>
      </p:sp>
      <p:sp>
        <p:nvSpPr>
          <p:cNvPr id="97" name="Oval 20">
            <a:extLst>
              <a:ext uri="{FF2B5EF4-FFF2-40B4-BE49-F238E27FC236}">
                <a16:creationId xmlns:a16="http://schemas.microsoft.com/office/drawing/2014/main" id="{A64CF441-6535-47D9-B6C7-83089849F139}"/>
              </a:ext>
            </a:extLst>
          </p:cNvPr>
          <p:cNvSpPr>
            <a:spLocks noChangeAspect="1" noChangeArrowheads="1"/>
          </p:cNvSpPr>
          <p:nvPr/>
        </p:nvSpPr>
        <p:spPr bwMode="auto">
          <a:xfrm>
            <a:off x="10380679" y="2271532"/>
            <a:ext cx="306910" cy="306910"/>
          </a:xfrm>
          <a:prstGeom prst="ellipse">
            <a:avLst/>
          </a:prstGeom>
          <a:solidFill>
            <a:srgbClr val="12284C">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100000"/>
                  </a:srgbClr>
                </a:solidFill>
                <a:effectLst/>
                <a:uLnTx/>
                <a:uFillTx/>
                <a:latin typeface="Open Sans"/>
                <a:ea typeface="+mn-ea"/>
                <a:cs typeface="+mn-cs"/>
              </a:rPr>
              <a:t>5</a:t>
            </a:r>
          </a:p>
        </p:txBody>
      </p:sp>
      <p:sp>
        <p:nvSpPr>
          <p:cNvPr id="98" name="Oval 97">
            <a:extLst>
              <a:ext uri="{FF2B5EF4-FFF2-40B4-BE49-F238E27FC236}">
                <a16:creationId xmlns:a16="http://schemas.microsoft.com/office/drawing/2014/main" id="{171BEA90-2AB3-4939-8161-606368D82B2F}"/>
              </a:ext>
            </a:extLst>
          </p:cNvPr>
          <p:cNvSpPr/>
          <p:nvPr/>
        </p:nvSpPr>
        <p:spPr>
          <a:xfrm>
            <a:off x="7770155" y="2670426"/>
            <a:ext cx="481278" cy="481278"/>
          </a:xfrm>
          <a:prstGeom prst="ellipse">
            <a:avLst/>
          </a:prstGeom>
          <a:solidFill>
            <a:srgbClr val="FFFFFF"/>
          </a:solidFill>
          <a:ln w="19050" cap="rnd" cmpd="sng" algn="ctr">
            <a:solidFill>
              <a:srgbClr val="5456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9" name="Oval 98">
            <a:extLst>
              <a:ext uri="{FF2B5EF4-FFF2-40B4-BE49-F238E27FC236}">
                <a16:creationId xmlns:a16="http://schemas.microsoft.com/office/drawing/2014/main" id="{0B4D0503-6819-46AB-844F-FC9FB84F16BC}"/>
              </a:ext>
            </a:extLst>
          </p:cNvPr>
          <p:cNvSpPr/>
          <p:nvPr/>
        </p:nvSpPr>
        <p:spPr>
          <a:xfrm>
            <a:off x="10293494" y="2670426"/>
            <a:ext cx="481278" cy="481278"/>
          </a:xfrm>
          <a:prstGeom prst="ellipse">
            <a:avLst/>
          </a:prstGeom>
          <a:solidFill>
            <a:srgbClr val="FFFFFF"/>
          </a:solidFill>
          <a:ln w="19050" cap="rnd" cmpd="sng" algn="ctr">
            <a:solidFill>
              <a:srgbClr val="5456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100" name="Group 99">
            <a:extLst>
              <a:ext uri="{FF2B5EF4-FFF2-40B4-BE49-F238E27FC236}">
                <a16:creationId xmlns:a16="http://schemas.microsoft.com/office/drawing/2014/main" id="{D17489AC-A40F-4133-9593-79BD4FCF8522}"/>
              </a:ext>
            </a:extLst>
          </p:cNvPr>
          <p:cNvGrpSpPr>
            <a:grpSpLocks noChangeAspect="1"/>
          </p:cNvGrpSpPr>
          <p:nvPr/>
        </p:nvGrpSpPr>
        <p:grpSpPr>
          <a:xfrm>
            <a:off x="7789092" y="2689362"/>
            <a:ext cx="443406" cy="443406"/>
            <a:chOff x="5273675" y="2606675"/>
            <a:chExt cx="1644650" cy="1644650"/>
          </a:xfrm>
        </p:grpSpPr>
        <p:sp>
          <p:nvSpPr>
            <p:cNvPr id="101" name="AutoShape 3">
              <a:extLst>
                <a:ext uri="{FF2B5EF4-FFF2-40B4-BE49-F238E27FC236}">
                  <a16:creationId xmlns:a16="http://schemas.microsoft.com/office/drawing/2014/main" id="{E1CF1513-2165-4F65-B0E5-53BB9588CDD2}"/>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nvGrpSpPr>
            <p:cNvPr id="102" name="Group 101">
              <a:extLst>
                <a:ext uri="{FF2B5EF4-FFF2-40B4-BE49-F238E27FC236}">
                  <a16:creationId xmlns:a16="http://schemas.microsoft.com/office/drawing/2014/main" id="{C23681E8-3715-4CDD-BF9C-16B1FC28494D}"/>
                </a:ext>
              </a:extLst>
            </p:cNvPr>
            <p:cNvGrpSpPr/>
            <p:nvPr/>
          </p:nvGrpSpPr>
          <p:grpSpPr>
            <a:xfrm>
              <a:off x="5444331" y="2963069"/>
              <a:ext cx="1303338" cy="931863"/>
              <a:chOff x="5444331" y="2963069"/>
              <a:chExt cx="1303338" cy="931863"/>
            </a:xfrm>
          </p:grpSpPr>
          <p:sp>
            <p:nvSpPr>
              <p:cNvPr id="103" name="Freeform 5">
                <a:extLst>
                  <a:ext uri="{FF2B5EF4-FFF2-40B4-BE49-F238E27FC236}">
                    <a16:creationId xmlns:a16="http://schemas.microsoft.com/office/drawing/2014/main" id="{9542E37B-275C-4CC9-BA42-8173AFCB33DE}"/>
                  </a:ext>
                </a:extLst>
              </p:cNvPr>
              <p:cNvSpPr>
                <a:spLocks noEditPoints="1"/>
              </p:cNvSpPr>
              <p:nvPr/>
            </p:nvSpPr>
            <p:spPr bwMode="auto">
              <a:xfrm>
                <a:off x="5444331" y="2963069"/>
                <a:ext cx="1303338" cy="931863"/>
              </a:xfrm>
              <a:custGeom>
                <a:avLst/>
                <a:gdLst>
                  <a:gd name="T0" fmla="*/ 1804 w 1826"/>
                  <a:gd name="T1" fmla="*/ 0 h 1306"/>
                  <a:gd name="T2" fmla="*/ 22 w 1826"/>
                  <a:gd name="T3" fmla="*/ 0 h 1306"/>
                  <a:gd name="T4" fmla="*/ 0 w 1826"/>
                  <a:gd name="T5" fmla="*/ 22 h 1306"/>
                  <a:gd name="T6" fmla="*/ 0 w 1826"/>
                  <a:gd name="T7" fmla="*/ 1284 h 1306"/>
                  <a:gd name="T8" fmla="*/ 22 w 1826"/>
                  <a:gd name="T9" fmla="*/ 1306 h 1306"/>
                  <a:gd name="T10" fmla="*/ 1804 w 1826"/>
                  <a:gd name="T11" fmla="*/ 1306 h 1306"/>
                  <a:gd name="T12" fmla="*/ 1826 w 1826"/>
                  <a:gd name="T13" fmla="*/ 1284 h 1306"/>
                  <a:gd name="T14" fmla="*/ 1826 w 1826"/>
                  <a:gd name="T15" fmla="*/ 22 h 1306"/>
                  <a:gd name="T16" fmla="*/ 1804 w 1826"/>
                  <a:gd name="T17" fmla="*/ 0 h 1306"/>
                  <a:gd name="T18" fmla="*/ 1782 w 1826"/>
                  <a:gd name="T19" fmla="*/ 1262 h 1306"/>
                  <a:gd name="T20" fmla="*/ 44 w 1826"/>
                  <a:gd name="T21" fmla="*/ 1262 h 1306"/>
                  <a:gd name="T22" fmla="*/ 44 w 1826"/>
                  <a:gd name="T23" fmla="*/ 44 h 1306"/>
                  <a:gd name="T24" fmla="*/ 1782 w 1826"/>
                  <a:gd name="T25" fmla="*/ 44 h 1306"/>
                  <a:gd name="T26" fmla="*/ 1782 w 1826"/>
                  <a:gd name="T27" fmla="*/ 1262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6" h="1306">
                    <a:moveTo>
                      <a:pt x="1804" y="0"/>
                    </a:moveTo>
                    <a:cubicBezTo>
                      <a:pt x="22" y="0"/>
                      <a:pt x="22" y="0"/>
                      <a:pt x="22" y="0"/>
                    </a:cubicBezTo>
                    <a:cubicBezTo>
                      <a:pt x="10" y="0"/>
                      <a:pt x="0" y="9"/>
                      <a:pt x="0" y="22"/>
                    </a:cubicBezTo>
                    <a:cubicBezTo>
                      <a:pt x="0" y="1284"/>
                      <a:pt x="0" y="1284"/>
                      <a:pt x="0" y="1284"/>
                    </a:cubicBezTo>
                    <a:cubicBezTo>
                      <a:pt x="0" y="1297"/>
                      <a:pt x="10" y="1306"/>
                      <a:pt x="22" y="1306"/>
                    </a:cubicBezTo>
                    <a:cubicBezTo>
                      <a:pt x="1804" y="1306"/>
                      <a:pt x="1804" y="1306"/>
                      <a:pt x="1804" y="1306"/>
                    </a:cubicBezTo>
                    <a:cubicBezTo>
                      <a:pt x="1816" y="1306"/>
                      <a:pt x="1826" y="1297"/>
                      <a:pt x="1826" y="1284"/>
                    </a:cubicBezTo>
                    <a:cubicBezTo>
                      <a:pt x="1826" y="22"/>
                      <a:pt x="1826" y="22"/>
                      <a:pt x="1826" y="22"/>
                    </a:cubicBezTo>
                    <a:cubicBezTo>
                      <a:pt x="1826" y="9"/>
                      <a:pt x="1816" y="0"/>
                      <a:pt x="1804" y="0"/>
                    </a:cubicBezTo>
                    <a:close/>
                    <a:moveTo>
                      <a:pt x="1782" y="1262"/>
                    </a:moveTo>
                    <a:cubicBezTo>
                      <a:pt x="44" y="1262"/>
                      <a:pt x="44" y="1262"/>
                      <a:pt x="44" y="1262"/>
                    </a:cubicBezTo>
                    <a:cubicBezTo>
                      <a:pt x="44" y="44"/>
                      <a:pt x="44" y="44"/>
                      <a:pt x="44" y="44"/>
                    </a:cubicBezTo>
                    <a:cubicBezTo>
                      <a:pt x="1782" y="44"/>
                      <a:pt x="1782" y="44"/>
                      <a:pt x="1782" y="44"/>
                    </a:cubicBezTo>
                    <a:cubicBezTo>
                      <a:pt x="1782" y="1262"/>
                      <a:pt x="1782" y="1262"/>
                      <a:pt x="1782" y="1262"/>
                    </a:cubicBezTo>
                    <a:close/>
                  </a:path>
                </a:pathLst>
              </a:custGeom>
              <a:solidFill>
                <a:srgbClr val="071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104" name="Freeform 6">
                <a:extLst>
                  <a:ext uri="{FF2B5EF4-FFF2-40B4-BE49-F238E27FC236}">
                    <a16:creationId xmlns:a16="http://schemas.microsoft.com/office/drawing/2014/main" id="{ABCF976D-567C-41F3-A84D-9F000206A598}"/>
                  </a:ext>
                </a:extLst>
              </p:cNvPr>
              <p:cNvSpPr>
                <a:spLocks/>
              </p:cNvSpPr>
              <p:nvPr/>
            </p:nvSpPr>
            <p:spPr bwMode="auto">
              <a:xfrm>
                <a:off x="5506244" y="3026569"/>
                <a:ext cx="1177925" cy="806450"/>
              </a:xfrm>
              <a:custGeom>
                <a:avLst/>
                <a:gdLst>
                  <a:gd name="connsiteX0" fmla="*/ 80811 w 1177925"/>
                  <a:gd name="connsiteY0" fmla="*/ 701675 h 806450"/>
                  <a:gd name="connsiteX1" fmla="*/ 65087 w 1177925"/>
                  <a:gd name="connsiteY1" fmla="*/ 717550 h 806450"/>
                  <a:gd name="connsiteX2" fmla="*/ 80811 w 1177925"/>
                  <a:gd name="connsiteY2" fmla="*/ 733425 h 806450"/>
                  <a:gd name="connsiteX3" fmla="*/ 1097114 w 1177925"/>
                  <a:gd name="connsiteY3" fmla="*/ 733425 h 806450"/>
                  <a:gd name="connsiteX4" fmla="*/ 1112837 w 1177925"/>
                  <a:gd name="connsiteY4" fmla="*/ 717550 h 806450"/>
                  <a:gd name="connsiteX5" fmla="*/ 1097114 w 1177925"/>
                  <a:gd name="connsiteY5" fmla="*/ 701675 h 806450"/>
                  <a:gd name="connsiteX6" fmla="*/ 80811 w 1177925"/>
                  <a:gd name="connsiteY6" fmla="*/ 701675 h 806450"/>
                  <a:gd name="connsiteX7" fmla="*/ 80811 w 1177925"/>
                  <a:gd name="connsiteY7" fmla="*/ 619125 h 806450"/>
                  <a:gd name="connsiteX8" fmla="*/ 65087 w 1177925"/>
                  <a:gd name="connsiteY8" fmla="*/ 635000 h 806450"/>
                  <a:gd name="connsiteX9" fmla="*/ 80811 w 1177925"/>
                  <a:gd name="connsiteY9" fmla="*/ 650875 h 806450"/>
                  <a:gd name="connsiteX10" fmla="*/ 1097114 w 1177925"/>
                  <a:gd name="connsiteY10" fmla="*/ 650875 h 806450"/>
                  <a:gd name="connsiteX11" fmla="*/ 1112837 w 1177925"/>
                  <a:gd name="connsiteY11" fmla="*/ 635000 h 806450"/>
                  <a:gd name="connsiteX12" fmla="*/ 1097114 w 1177925"/>
                  <a:gd name="connsiteY12" fmla="*/ 619125 h 806450"/>
                  <a:gd name="connsiteX13" fmla="*/ 80811 w 1177925"/>
                  <a:gd name="connsiteY13" fmla="*/ 619125 h 806450"/>
                  <a:gd name="connsiteX14" fmla="*/ 80811 w 1177925"/>
                  <a:gd name="connsiteY14" fmla="*/ 536575 h 806450"/>
                  <a:gd name="connsiteX15" fmla="*/ 65087 w 1177925"/>
                  <a:gd name="connsiteY15" fmla="*/ 552450 h 806450"/>
                  <a:gd name="connsiteX16" fmla="*/ 80811 w 1177925"/>
                  <a:gd name="connsiteY16" fmla="*/ 568325 h 806450"/>
                  <a:gd name="connsiteX17" fmla="*/ 1097114 w 1177925"/>
                  <a:gd name="connsiteY17" fmla="*/ 568325 h 806450"/>
                  <a:gd name="connsiteX18" fmla="*/ 1112837 w 1177925"/>
                  <a:gd name="connsiteY18" fmla="*/ 552450 h 806450"/>
                  <a:gd name="connsiteX19" fmla="*/ 1097114 w 1177925"/>
                  <a:gd name="connsiteY19" fmla="*/ 536575 h 806450"/>
                  <a:gd name="connsiteX20" fmla="*/ 80811 w 1177925"/>
                  <a:gd name="connsiteY20" fmla="*/ 536575 h 806450"/>
                  <a:gd name="connsiteX21" fmla="*/ 93951 w 1177925"/>
                  <a:gd name="connsiteY21" fmla="*/ 304800 h 806450"/>
                  <a:gd name="connsiteX22" fmla="*/ 80962 w 1177925"/>
                  <a:gd name="connsiteY22" fmla="*/ 317598 h 806450"/>
                  <a:gd name="connsiteX23" fmla="*/ 80962 w 1177925"/>
                  <a:gd name="connsiteY23" fmla="*/ 476152 h 806450"/>
                  <a:gd name="connsiteX24" fmla="*/ 93951 w 1177925"/>
                  <a:gd name="connsiteY24" fmla="*/ 488950 h 806450"/>
                  <a:gd name="connsiteX25" fmla="*/ 163224 w 1177925"/>
                  <a:gd name="connsiteY25" fmla="*/ 488950 h 806450"/>
                  <a:gd name="connsiteX26" fmla="*/ 176212 w 1177925"/>
                  <a:gd name="connsiteY26" fmla="*/ 476152 h 806450"/>
                  <a:gd name="connsiteX27" fmla="*/ 176212 w 1177925"/>
                  <a:gd name="connsiteY27" fmla="*/ 317598 h 806450"/>
                  <a:gd name="connsiteX28" fmla="*/ 163224 w 1177925"/>
                  <a:gd name="connsiteY28" fmla="*/ 304800 h 806450"/>
                  <a:gd name="connsiteX29" fmla="*/ 93951 w 1177925"/>
                  <a:gd name="connsiteY29" fmla="*/ 304800 h 806450"/>
                  <a:gd name="connsiteX30" fmla="*/ 209839 w 1177925"/>
                  <a:gd name="connsiteY30" fmla="*/ 233363 h 806450"/>
                  <a:gd name="connsiteX31" fmla="*/ 196850 w 1177925"/>
                  <a:gd name="connsiteY31" fmla="*/ 246178 h 806450"/>
                  <a:gd name="connsiteX32" fmla="*/ 196850 w 1177925"/>
                  <a:gd name="connsiteY32" fmla="*/ 476136 h 806450"/>
                  <a:gd name="connsiteX33" fmla="*/ 209839 w 1177925"/>
                  <a:gd name="connsiteY33" fmla="*/ 488951 h 806450"/>
                  <a:gd name="connsiteX34" fmla="*/ 279112 w 1177925"/>
                  <a:gd name="connsiteY34" fmla="*/ 488951 h 806450"/>
                  <a:gd name="connsiteX35" fmla="*/ 292100 w 1177925"/>
                  <a:gd name="connsiteY35" fmla="*/ 476136 h 806450"/>
                  <a:gd name="connsiteX36" fmla="*/ 292100 w 1177925"/>
                  <a:gd name="connsiteY36" fmla="*/ 246178 h 806450"/>
                  <a:gd name="connsiteX37" fmla="*/ 279112 w 1177925"/>
                  <a:gd name="connsiteY37" fmla="*/ 233363 h 806450"/>
                  <a:gd name="connsiteX38" fmla="*/ 209839 w 1177925"/>
                  <a:gd name="connsiteY38" fmla="*/ 233363 h 806450"/>
                  <a:gd name="connsiteX39" fmla="*/ 325509 w 1177925"/>
                  <a:gd name="connsiteY39" fmla="*/ 152400 h 806450"/>
                  <a:gd name="connsiteX40" fmla="*/ 312737 w 1177925"/>
                  <a:gd name="connsiteY40" fmla="*/ 165235 h 806450"/>
                  <a:gd name="connsiteX41" fmla="*/ 312737 w 1177925"/>
                  <a:gd name="connsiteY41" fmla="*/ 476116 h 806450"/>
                  <a:gd name="connsiteX42" fmla="*/ 325509 w 1177925"/>
                  <a:gd name="connsiteY42" fmla="*/ 488950 h 806450"/>
                  <a:gd name="connsiteX43" fmla="*/ 393628 w 1177925"/>
                  <a:gd name="connsiteY43" fmla="*/ 488950 h 806450"/>
                  <a:gd name="connsiteX44" fmla="*/ 406400 w 1177925"/>
                  <a:gd name="connsiteY44" fmla="*/ 476116 h 806450"/>
                  <a:gd name="connsiteX45" fmla="*/ 406400 w 1177925"/>
                  <a:gd name="connsiteY45" fmla="*/ 165235 h 806450"/>
                  <a:gd name="connsiteX46" fmla="*/ 393628 w 1177925"/>
                  <a:gd name="connsiteY46" fmla="*/ 152400 h 806450"/>
                  <a:gd name="connsiteX47" fmla="*/ 325509 w 1177925"/>
                  <a:gd name="connsiteY47" fmla="*/ 152400 h 806450"/>
                  <a:gd name="connsiteX48" fmla="*/ 877650 w 1177925"/>
                  <a:gd name="connsiteY48" fmla="*/ 79375 h 806450"/>
                  <a:gd name="connsiteX49" fmla="*/ 882650 w 1177925"/>
                  <a:gd name="connsiteY49" fmla="*/ 80089 h 806450"/>
                  <a:gd name="connsiteX50" fmla="*/ 877650 w 1177925"/>
                  <a:gd name="connsiteY50" fmla="*/ 271463 h 806450"/>
                  <a:gd name="connsiteX51" fmla="*/ 725487 w 1177925"/>
                  <a:gd name="connsiteY51" fmla="*/ 157210 h 806450"/>
                  <a:gd name="connsiteX52" fmla="*/ 877650 w 1177925"/>
                  <a:gd name="connsiteY52" fmla="*/ 79375 h 806450"/>
                  <a:gd name="connsiteX53" fmla="*/ 876738 w 1177925"/>
                  <a:gd name="connsiteY53" fmla="*/ 47625 h 806450"/>
                  <a:gd name="connsiteX54" fmla="*/ 657225 w 1177925"/>
                  <a:gd name="connsiteY54" fmla="*/ 268288 h 806450"/>
                  <a:gd name="connsiteX55" fmla="*/ 777672 w 1177925"/>
                  <a:gd name="connsiteY55" fmla="*/ 465384 h 806450"/>
                  <a:gd name="connsiteX56" fmla="*/ 876025 w 1177925"/>
                  <a:gd name="connsiteY56" fmla="*/ 488950 h 806450"/>
                  <a:gd name="connsiteX57" fmla="*/ 876738 w 1177925"/>
                  <a:gd name="connsiteY57" fmla="*/ 488950 h 806450"/>
                  <a:gd name="connsiteX58" fmla="*/ 1096963 w 1177925"/>
                  <a:gd name="connsiteY58" fmla="*/ 268288 h 806450"/>
                  <a:gd name="connsiteX59" fmla="*/ 895981 w 1177925"/>
                  <a:gd name="connsiteY59" fmla="*/ 49053 h 806450"/>
                  <a:gd name="connsiteX60" fmla="*/ 889567 w 1177925"/>
                  <a:gd name="connsiteY60" fmla="*/ 48339 h 806450"/>
                  <a:gd name="connsiteX61" fmla="*/ 887428 w 1177925"/>
                  <a:gd name="connsiteY61" fmla="*/ 48339 h 806450"/>
                  <a:gd name="connsiteX62" fmla="*/ 882440 w 1177925"/>
                  <a:gd name="connsiteY62" fmla="*/ 47625 h 806450"/>
                  <a:gd name="connsiteX63" fmla="*/ 882440 w 1177925"/>
                  <a:gd name="connsiteY63" fmla="*/ 48339 h 806450"/>
                  <a:gd name="connsiteX64" fmla="*/ 876738 w 1177925"/>
                  <a:gd name="connsiteY64" fmla="*/ 47625 h 806450"/>
                  <a:gd name="connsiteX65" fmla="*/ 439907 w 1177925"/>
                  <a:gd name="connsiteY65" fmla="*/ 47625 h 806450"/>
                  <a:gd name="connsiteX66" fmla="*/ 427037 w 1177925"/>
                  <a:gd name="connsiteY66" fmla="*/ 60479 h 806450"/>
                  <a:gd name="connsiteX67" fmla="*/ 427037 w 1177925"/>
                  <a:gd name="connsiteY67" fmla="*/ 476096 h 806450"/>
                  <a:gd name="connsiteX68" fmla="*/ 439907 w 1177925"/>
                  <a:gd name="connsiteY68" fmla="*/ 488950 h 806450"/>
                  <a:gd name="connsiteX69" fmla="*/ 507831 w 1177925"/>
                  <a:gd name="connsiteY69" fmla="*/ 488950 h 806450"/>
                  <a:gd name="connsiteX70" fmla="*/ 520700 w 1177925"/>
                  <a:gd name="connsiteY70" fmla="*/ 476096 h 806450"/>
                  <a:gd name="connsiteX71" fmla="*/ 520700 w 1177925"/>
                  <a:gd name="connsiteY71" fmla="*/ 60479 h 806450"/>
                  <a:gd name="connsiteX72" fmla="*/ 507831 w 1177925"/>
                  <a:gd name="connsiteY72" fmla="*/ 47625 h 806450"/>
                  <a:gd name="connsiteX73" fmla="*/ 439907 w 1177925"/>
                  <a:gd name="connsiteY73" fmla="*/ 47625 h 806450"/>
                  <a:gd name="connsiteX74" fmla="*/ 0 w 1177925"/>
                  <a:gd name="connsiteY74" fmla="*/ 0 h 806450"/>
                  <a:gd name="connsiteX75" fmla="*/ 1177925 w 1177925"/>
                  <a:gd name="connsiteY75" fmla="*/ 0 h 806450"/>
                  <a:gd name="connsiteX76" fmla="*/ 1177925 w 1177925"/>
                  <a:gd name="connsiteY76" fmla="*/ 806450 h 806450"/>
                  <a:gd name="connsiteX77" fmla="*/ 0 w 1177925"/>
                  <a:gd name="connsiteY77" fmla="*/ 806450 h 806450"/>
                  <a:gd name="connsiteX78" fmla="*/ 0 w 1177925"/>
                  <a:gd name="connsiteY78" fmla="*/ 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177925" h="806450">
                    <a:moveTo>
                      <a:pt x="80811" y="701675"/>
                    </a:moveTo>
                    <a:cubicBezTo>
                      <a:pt x="72234" y="701675"/>
                      <a:pt x="65087" y="708891"/>
                      <a:pt x="65087" y="717550"/>
                    </a:cubicBezTo>
                    <a:cubicBezTo>
                      <a:pt x="65087" y="726209"/>
                      <a:pt x="72234" y="733425"/>
                      <a:pt x="80811" y="733425"/>
                    </a:cubicBezTo>
                    <a:cubicBezTo>
                      <a:pt x="80811" y="733425"/>
                      <a:pt x="80811" y="733425"/>
                      <a:pt x="1097114" y="733425"/>
                    </a:cubicBezTo>
                    <a:cubicBezTo>
                      <a:pt x="1105690" y="733425"/>
                      <a:pt x="1112837" y="726209"/>
                      <a:pt x="1112837" y="717550"/>
                    </a:cubicBezTo>
                    <a:cubicBezTo>
                      <a:pt x="1112837" y="708891"/>
                      <a:pt x="1105690" y="701675"/>
                      <a:pt x="1097114" y="701675"/>
                    </a:cubicBezTo>
                    <a:cubicBezTo>
                      <a:pt x="1097114" y="701675"/>
                      <a:pt x="1097114" y="701675"/>
                      <a:pt x="80811" y="701675"/>
                    </a:cubicBezTo>
                    <a:close/>
                    <a:moveTo>
                      <a:pt x="80811" y="619125"/>
                    </a:moveTo>
                    <a:cubicBezTo>
                      <a:pt x="72234" y="619125"/>
                      <a:pt x="65087" y="626341"/>
                      <a:pt x="65087" y="635000"/>
                    </a:cubicBezTo>
                    <a:cubicBezTo>
                      <a:pt x="65087" y="644381"/>
                      <a:pt x="72234" y="650875"/>
                      <a:pt x="80811" y="650875"/>
                    </a:cubicBezTo>
                    <a:cubicBezTo>
                      <a:pt x="80811" y="650875"/>
                      <a:pt x="80811" y="650875"/>
                      <a:pt x="1097114" y="650875"/>
                    </a:cubicBezTo>
                    <a:cubicBezTo>
                      <a:pt x="1105690" y="650875"/>
                      <a:pt x="1112837" y="644381"/>
                      <a:pt x="1112837" y="635000"/>
                    </a:cubicBezTo>
                    <a:cubicBezTo>
                      <a:pt x="1112837" y="626341"/>
                      <a:pt x="1105690" y="619125"/>
                      <a:pt x="1097114" y="619125"/>
                    </a:cubicBezTo>
                    <a:cubicBezTo>
                      <a:pt x="1097114" y="619125"/>
                      <a:pt x="1097114" y="619125"/>
                      <a:pt x="80811" y="619125"/>
                    </a:cubicBezTo>
                    <a:close/>
                    <a:moveTo>
                      <a:pt x="80811" y="536575"/>
                    </a:moveTo>
                    <a:cubicBezTo>
                      <a:pt x="72234" y="536575"/>
                      <a:pt x="65087" y="543791"/>
                      <a:pt x="65087" y="552450"/>
                    </a:cubicBezTo>
                    <a:cubicBezTo>
                      <a:pt x="65087" y="561109"/>
                      <a:pt x="72234" y="568325"/>
                      <a:pt x="80811" y="568325"/>
                    </a:cubicBezTo>
                    <a:cubicBezTo>
                      <a:pt x="80811" y="568325"/>
                      <a:pt x="80811" y="568325"/>
                      <a:pt x="1097114" y="568325"/>
                    </a:cubicBezTo>
                    <a:cubicBezTo>
                      <a:pt x="1105690" y="568325"/>
                      <a:pt x="1112837" y="561109"/>
                      <a:pt x="1112837" y="552450"/>
                    </a:cubicBezTo>
                    <a:cubicBezTo>
                      <a:pt x="1112837" y="543791"/>
                      <a:pt x="1105690" y="536575"/>
                      <a:pt x="1097114" y="536575"/>
                    </a:cubicBezTo>
                    <a:cubicBezTo>
                      <a:pt x="1097114" y="536575"/>
                      <a:pt x="1097114" y="536575"/>
                      <a:pt x="80811" y="536575"/>
                    </a:cubicBezTo>
                    <a:close/>
                    <a:moveTo>
                      <a:pt x="93951" y="304800"/>
                    </a:moveTo>
                    <a:cubicBezTo>
                      <a:pt x="86013" y="304800"/>
                      <a:pt x="80962" y="311199"/>
                      <a:pt x="80962" y="317598"/>
                    </a:cubicBezTo>
                    <a:cubicBezTo>
                      <a:pt x="80962" y="317598"/>
                      <a:pt x="80962" y="317598"/>
                      <a:pt x="80962" y="476152"/>
                    </a:cubicBezTo>
                    <a:cubicBezTo>
                      <a:pt x="80962" y="483262"/>
                      <a:pt x="86013" y="488950"/>
                      <a:pt x="93951" y="488950"/>
                    </a:cubicBezTo>
                    <a:cubicBezTo>
                      <a:pt x="93951" y="488950"/>
                      <a:pt x="93951" y="488950"/>
                      <a:pt x="163224" y="488950"/>
                    </a:cubicBezTo>
                    <a:cubicBezTo>
                      <a:pt x="169718" y="488950"/>
                      <a:pt x="176212" y="483262"/>
                      <a:pt x="176212" y="476152"/>
                    </a:cubicBezTo>
                    <a:cubicBezTo>
                      <a:pt x="176212" y="476152"/>
                      <a:pt x="176212" y="476152"/>
                      <a:pt x="176212" y="317598"/>
                    </a:cubicBezTo>
                    <a:cubicBezTo>
                      <a:pt x="176212" y="311199"/>
                      <a:pt x="169718" y="304800"/>
                      <a:pt x="163224" y="304800"/>
                    </a:cubicBezTo>
                    <a:cubicBezTo>
                      <a:pt x="163224" y="304800"/>
                      <a:pt x="163224" y="304800"/>
                      <a:pt x="93951" y="304800"/>
                    </a:cubicBezTo>
                    <a:close/>
                    <a:moveTo>
                      <a:pt x="209839" y="233363"/>
                    </a:moveTo>
                    <a:cubicBezTo>
                      <a:pt x="202623" y="233363"/>
                      <a:pt x="196850" y="239059"/>
                      <a:pt x="196850" y="246178"/>
                    </a:cubicBezTo>
                    <a:cubicBezTo>
                      <a:pt x="196850" y="476136"/>
                      <a:pt x="196850" y="476136"/>
                      <a:pt x="196850" y="476136"/>
                    </a:cubicBezTo>
                    <a:cubicBezTo>
                      <a:pt x="196850" y="483256"/>
                      <a:pt x="202623" y="488951"/>
                      <a:pt x="209839" y="488951"/>
                    </a:cubicBezTo>
                    <a:cubicBezTo>
                      <a:pt x="279112" y="488951"/>
                      <a:pt x="279112" y="488951"/>
                      <a:pt x="279112" y="488951"/>
                    </a:cubicBezTo>
                    <a:cubicBezTo>
                      <a:pt x="286328" y="488951"/>
                      <a:pt x="292100" y="483256"/>
                      <a:pt x="292100" y="476136"/>
                    </a:cubicBezTo>
                    <a:cubicBezTo>
                      <a:pt x="292100" y="246178"/>
                      <a:pt x="292100" y="246178"/>
                      <a:pt x="292100" y="246178"/>
                    </a:cubicBezTo>
                    <a:cubicBezTo>
                      <a:pt x="292100" y="239059"/>
                      <a:pt x="286328" y="233363"/>
                      <a:pt x="279112" y="233363"/>
                    </a:cubicBezTo>
                    <a:cubicBezTo>
                      <a:pt x="209839" y="233363"/>
                      <a:pt x="209839" y="233363"/>
                      <a:pt x="209839" y="233363"/>
                    </a:cubicBezTo>
                    <a:close/>
                    <a:moveTo>
                      <a:pt x="325509" y="152400"/>
                    </a:moveTo>
                    <a:cubicBezTo>
                      <a:pt x="318414" y="152400"/>
                      <a:pt x="312737" y="158104"/>
                      <a:pt x="312737" y="165235"/>
                    </a:cubicBezTo>
                    <a:cubicBezTo>
                      <a:pt x="312737" y="476116"/>
                      <a:pt x="312737" y="476116"/>
                      <a:pt x="312737" y="476116"/>
                    </a:cubicBezTo>
                    <a:cubicBezTo>
                      <a:pt x="312737" y="483246"/>
                      <a:pt x="318414" y="488950"/>
                      <a:pt x="325509" y="488950"/>
                    </a:cubicBezTo>
                    <a:cubicBezTo>
                      <a:pt x="393628" y="488950"/>
                      <a:pt x="393628" y="488950"/>
                      <a:pt x="393628" y="488950"/>
                    </a:cubicBezTo>
                    <a:cubicBezTo>
                      <a:pt x="400724" y="488950"/>
                      <a:pt x="406400" y="483246"/>
                      <a:pt x="406400" y="476116"/>
                    </a:cubicBezTo>
                    <a:cubicBezTo>
                      <a:pt x="406400" y="165235"/>
                      <a:pt x="406400" y="165235"/>
                      <a:pt x="406400" y="165235"/>
                    </a:cubicBezTo>
                    <a:cubicBezTo>
                      <a:pt x="406400" y="158104"/>
                      <a:pt x="400724" y="152400"/>
                      <a:pt x="393628" y="152400"/>
                    </a:cubicBezTo>
                    <a:cubicBezTo>
                      <a:pt x="325509" y="152400"/>
                      <a:pt x="325509" y="152400"/>
                      <a:pt x="325509" y="152400"/>
                    </a:cubicBezTo>
                    <a:close/>
                    <a:moveTo>
                      <a:pt x="877650" y="79375"/>
                    </a:moveTo>
                    <a:cubicBezTo>
                      <a:pt x="879078" y="79375"/>
                      <a:pt x="881221" y="80089"/>
                      <a:pt x="882650" y="80089"/>
                    </a:cubicBezTo>
                    <a:cubicBezTo>
                      <a:pt x="881936" y="108652"/>
                      <a:pt x="880507" y="164351"/>
                      <a:pt x="877650" y="271463"/>
                    </a:cubicBezTo>
                    <a:cubicBezTo>
                      <a:pt x="877650" y="271463"/>
                      <a:pt x="877650" y="271463"/>
                      <a:pt x="725487" y="157210"/>
                    </a:cubicBezTo>
                    <a:cubicBezTo>
                      <a:pt x="760492" y="110081"/>
                      <a:pt x="814784" y="79375"/>
                      <a:pt x="877650" y="79375"/>
                    </a:cubicBezTo>
                    <a:close/>
                    <a:moveTo>
                      <a:pt x="876738" y="47625"/>
                    </a:moveTo>
                    <a:cubicBezTo>
                      <a:pt x="755578" y="47625"/>
                      <a:pt x="657225" y="146888"/>
                      <a:pt x="657225" y="268288"/>
                    </a:cubicBezTo>
                    <a:cubicBezTo>
                      <a:pt x="657225" y="354696"/>
                      <a:pt x="706402" y="428964"/>
                      <a:pt x="777672" y="465384"/>
                    </a:cubicBezTo>
                    <a:cubicBezTo>
                      <a:pt x="807606" y="480381"/>
                      <a:pt x="841103" y="488950"/>
                      <a:pt x="876025" y="488950"/>
                    </a:cubicBezTo>
                    <a:cubicBezTo>
                      <a:pt x="876025" y="488950"/>
                      <a:pt x="876025" y="488950"/>
                      <a:pt x="876738" y="488950"/>
                    </a:cubicBezTo>
                    <a:cubicBezTo>
                      <a:pt x="997897" y="488950"/>
                      <a:pt x="1096963" y="390402"/>
                      <a:pt x="1096963" y="268288"/>
                    </a:cubicBezTo>
                    <a:cubicBezTo>
                      <a:pt x="1096963" y="153315"/>
                      <a:pt x="1008588" y="58337"/>
                      <a:pt x="895981" y="49053"/>
                    </a:cubicBezTo>
                    <a:cubicBezTo>
                      <a:pt x="893843" y="48339"/>
                      <a:pt x="891705" y="48339"/>
                      <a:pt x="889567" y="48339"/>
                    </a:cubicBezTo>
                    <a:cubicBezTo>
                      <a:pt x="888854" y="48339"/>
                      <a:pt x="888141" y="48339"/>
                      <a:pt x="887428" y="48339"/>
                    </a:cubicBezTo>
                    <a:cubicBezTo>
                      <a:pt x="886003" y="48339"/>
                      <a:pt x="883865" y="47625"/>
                      <a:pt x="882440" y="47625"/>
                    </a:cubicBezTo>
                    <a:cubicBezTo>
                      <a:pt x="882440" y="47625"/>
                      <a:pt x="882440" y="47625"/>
                      <a:pt x="882440" y="48339"/>
                    </a:cubicBezTo>
                    <a:cubicBezTo>
                      <a:pt x="880301" y="48339"/>
                      <a:pt x="878876" y="47625"/>
                      <a:pt x="876738" y="47625"/>
                    </a:cubicBezTo>
                    <a:close/>
                    <a:moveTo>
                      <a:pt x="439907" y="47625"/>
                    </a:moveTo>
                    <a:cubicBezTo>
                      <a:pt x="432757" y="47625"/>
                      <a:pt x="427037" y="53338"/>
                      <a:pt x="427037" y="60479"/>
                    </a:cubicBezTo>
                    <a:cubicBezTo>
                      <a:pt x="427037" y="476096"/>
                      <a:pt x="427037" y="476096"/>
                      <a:pt x="427037" y="476096"/>
                    </a:cubicBezTo>
                    <a:cubicBezTo>
                      <a:pt x="427037" y="483237"/>
                      <a:pt x="432757" y="488950"/>
                      <a:pt x="439907" y="488950"/>
                    </a:cubicBezTo>
                    <a:cubicBezTo>
                      <a:pt x="507831" y="488950"/>
                      <a:pt x="507831" y="488950"/>
                      <a:pt x="507831" y="488950"/>
                    </a:cubicBezTo>
                    <a:cubicBezTo>
                      <a:pt x="515695" y="488950"/>
                      <a:pt x="520700" y="483237"/>
                      <a:pt x="520700" y="476096"/>
                    </a:cubicBezTo>
                    <a:cubicBezTo>
                      <a:pt x="520700" y="60479"/>
                      <a:pt x="520700" y="60479"/>
                      <a:pt x="520700" y="60479"/>
                    </a:cubicBezTo>
                    <a:cubicBezTo>
                      <a:pt x="520700" y="53338"/>
                      <a:pt x="515695" y="47625"/>
                      <a:pt x="507831" y="47625"/>
                    </a:cubicBezTo>
                    <a:cubicBezTo>
                      <a:pt x="439907" y="47625"/>
                      <a:pt x="439907" y="47625"/>
                      <a:pt x="439907" y="47625"/>
                    </a:cubicBezTo>
                    <a:close/>
                    <a:moveTo>
                      <a:pt x="0" y="0"/>
                    </a:moveTo>
                    <a:cubicBezTo>
                      <a:pt x="0" y="0"/>
                      <a:pt x="0" y="0"/>
                      <a:pt x="1177925" y="0"/>
                    </a:cubicBezTo>
                    <a:cubicBezTo>
                      <a:pt x="1177925" y="0"/>
                      <a:pt x="1177925" y="0"/>
                      <a:pt x="1177925" y="806450"/>
                    </a:cubicBezTo>
                    <a:cubicBezTo>
                      <a:pt x="1177925" y="806450"/>
                      <a:pt x="1177925" y="806450"/>
                      <a:pt x="0" y="806450"/>
                    </a:cubicBezTo>
                    <a:cubicBezTo>
                      <a:pt x="0" y="806450"/>
                      <a:pt x="0" y="806450"/>
                      <a:pt x="0" y="0"/>
                    </a:cubicBezTo>
                    <a:close/>
                  </a:path>
                </a:pathLst>
              </a:custGeom>
              <a:solidFill>
                <a:srgbClr val="122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grpSp>
        <p:nvGrpSpPr>
          <p:cNvPr id="105" name="Group 104">
            <a:extLst>
              <a:ext uri="{FF2B5EF4-FFF2-40B4-BE49-F238E27FC236}">
                <a16:creationId xmlns:a16="http://schemas.microsoft.com/office/drawing/2014/main" id="{B71A76A7-B922-4A3C-AAAE-1E8045A731A0}"/>
              </a:ext>
            </a:extLst>
          </p:cNvPr>
          <p:cNvGrpSpPr>
            <a:grpSpLocks noChangeAspect="1"/>
          </p:cNvGrpSpPr>
          <p:nvPr/>
        </p:nvGrpSpPr>
        <p:grpSpPr>
          <a:xfrm>
            <a:off x="10293494" y="2684093"/>
            <a:ext cx="481278" cy="481278"/>
            <a:chOff x="5272125" y="2606620"/>
            <a:chExt cx="1645920" cy="1645920"/>
          </a:xfrm>
        </p:grpSpPr>
        <p:sp>
          <p:nvSpPr>
            <p:cNvPr id="106" name="AutoShape 3">
              <a:extLst>
                <a:ext uri="{FF2B5EF4-FFF2-40B4-BE49-F238E27FC236}">
                  <a16:creationId xmlns:a16="http://schemas.microsoft.com/office/drawing/2014/main" id="{713E73E1-BB82-4278-A78F-DFC77BF91D31}"/>
                </a:ext>
              </a:extLst>
            </p:cNvPr>
            <p:cNvSpPr>
              <a:spLocks noChangeAspect="1" noChangeArrowheads="1" noTextEdit="1"/>
            </p:cNvSpPr>
            <p:nvPr/>
          </p:nvSpPr>
          <p:spPr bwMode="auto">
            <a:xfrm>
              <a:off x="5272125" y="260662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nvGrpSpPr>
            <p:cNvPr id="107" name="Group 106">
              <a:extLst>
                <a:ext uri="{FF2B5EF4-FFF2-40B4-BE49-F238E27FC236}">
                  <a16:creationId xmlns:a16="http://schemas.microsoft.com/office/drawing/2014/main" id="{69F68409-46D5-435D-8DEB-F16DA93D452C}"/>
                </a:ext>
              </a:extLst>
            </p:cNvPr>
            <p:cNvGrpSpPr/>
            <p:nvPr/>
          </p:nvGrpSpPr>
          <p:grpSpPr>
            <a:xfrm>
              <a:off x="5486685" y="2776363"/>
              <a:ext cx="1216800" cy="1306433"/>
              <a:chOff x="5486685" y="2776363"/>
              <a:chExt cx="1216800" cy="1306433"/>
            </a:xfrm>
          </p:grpSpPr>
          <p:sp>
            <p:nvSpPr>
              <p:cNvPr id="108" name="Freeform 32">
                <a:extLst>
                  <a:ext uri="{FF2B5EF4-FFF2-40B4-BE49-F238E27FC236}">
                    <a16:creationId xmlns:a16="http://schemas.microsoft.com/office/drawing/2014/main" id="{E6D9BFB5-6A65-4FF7-9804-ACF4C1F36D40}"/>
                  </a:ext>
                </a:extLst>
              </p:cNvPr>
              <p:cNvSpPr>
                <a:spLocks/>
              </p:cNvSpPr>
              <p:nvPr/>
            </p:nvSpPr>
            <p:spPr bwMode="auto">
              <a:xfrm>
                <a:off x="5486685" y="2776363"/>
                <a:ext cx="1216800" cy="1306433"/>
              </a:xfrm>
              <a:custGeom>
                <a:avLst/>
                <a:gdLst>
                  <a:gd name="connsiteX0" fmla="*/ 1494237 w 5069998"/>
                  <a:gd name="connsiteY0" fmla="*/ 3308284 h 5443472"/>
                  <a:gd name="connsiteX1" fmla="*/ 1494237 w 5069998"/>
                  <a:gd name="connsiteY1" fmla="*/ 4240334 h 5443472"/>
                  <a:gd name="connsiteX2" fmla="*/ 2473725 w 5069998"/>
                  <a:gd name="connsiteY2" fmla="*/ 5225984 h 5443472"/>
                  <a:gd name="connsiteX3" fmla="*/ 2473725 w 5069998"/>
                  <a:gd name="connsiteY3" fmla="*/ 4293934 h 5443472"/>
                  <a:gd name="connsiteX4" fmla="*/ 1494237 w 5069998"/>
                  <a:gd name="connsiteY4" fmla="*/ 3308284 h 5443472"/>
                  <a:gd name="connsiteX5" fmla="*/ 1439668 w 5069998"/>
                  <a:gd name="connsiteY5" fmla="*/ 3092731 h 5443472"/>
                  <a:gd name="connsiteX6" fmla="*/ 1472772 w 5069998"/>
                  <a:gd name="connsiteY6" fmla="*/ 3109847 h 5443472"/>
                  <a:gd name="connsiteX7" fmla="*/ 2567794 w 5069998"/>
                  <a:gd name="connsiteY7" fmla="*/ 4214152 h 5443472"/>
                  <a:gd name="connsiteX8" fmla="*/ 2597550 w 5069998"/>
                  <a:gd name="connsiteY8" fmla="*/ 4264753 h 5443472"/>
                  <a:gd name="connsiteX9" fmla="*/ 2597550 w 5069998"/>
                  <a:gd name="connsiteY9" fmla="*/ 5380964 h 5443472"/>
                  <a:gd name="connsiteX10" fmla="*/ 2558867 w 5069998"/>
                  <a:gd name="connsiteY10" fmla="*/ 5437519 h 5443472"/>
                  <a:gd name="connsiteX11" fmla="*/ 2535063 w 5069998"/>
                  <a:gd name="connsiteY11" fmla="*/ 5443472 h 5443472"/>
                  <a:gd name="connsiteX12" fmla="*/ 2487453 w 5069998"/>
                  <a:gd name="connsiteY12" fmla="*/ 5422636 h 5443472"/>
                  <a:gd name="connsiteX13" fmla="*/ 1392431 w 5069998"/>
                  <a:gd name="connsiteY13" fmla="*/ 4321308 h 5443472"/>
                  <a:gd name="connsiteX14" fmla="*/ 1365650 w 5069998"/>
                  <a:gd name="connsiteY14" fmla="*/ 4267730 h 5443472"/>
                  <a:gd name="connsiteX15" fmla="*/ 1365650 w 5069998"/>
                  <a:gd name="connsiteY15" fmla="*/ 3154495 h 5443472"/>
                  <a:gd name="connsiteX16" fmla="*/ 1404333 w 5069998"/>
                  <a:gd name="connsiteY16" fmla="*/ 3097940 h 5443472"/>
                  <a:gd name="connsiteX17" fmla="*/ 1439668 w 5069998"/>
                  <a:gd name="connsiteY17" fmla="*/ 3092731 h 5443472"/>
                  <a:gd name="connsiteX18" fmla="*/ 2851550 w 5069998"/>
                  <a:gd name="connsiteY18" fmla="*/ 2852670 h 5443472"/>
                  <a:gd name="connsiteX19" fmla="*/ 2851550 w 5069998"/>
                  <a:gd name="connsiteY19" fmla="*/ 4851333 h 5443472"/>
                  <a:gd name="connsiteX20" fmla="*/ 4848625 w 5069998"/>
                  <a:gd name="connsiteY20" fmla="*/ 2852670 h 5443472"/>
                  <a:gd name="connsiteX21" fmla="*/ 2851550 w 5069998"/>
                  <a:gd name="connsiteY21" fmla="*/ 2852670 h 5443472"/>
                  <a:gd name="connsiteX22" fmla="*/ 1576788 w 5069998"/>
                  <a:gd name="connsiteY22" fmla="*/ 2852670 h 5443472"/>
                  <a:gd name="connsiteX23" fmla="*/ 2470551 w 5069998"/>
                  <a:gd name="connsiteY23" fmla="*/ 3755958 h 5443472"/>
                  <a:gd name="connsiteX24" fmla="*/ 2470551 w 5069998"/>
                  <a:gd name="connsiteY24" fmla="*/ 2852670 h 5443472"/>
                  <a:gd name="connsiteX25" fmla="*/ 1576788 w 5069998"/>
                  <a:gd name="connsiteY25" fmla="*/ 2852670 h 5443472"/>
                  <a:gd name="connsiteX26" fmla="*/ 2788469 w 5069998"/>
                  <a:gd name="connsiteY26" fmla="*/ 2725670 h 5443472"/>
                  <a:gd name="connsiteX27" fmla="*/ 5000803 w 5069998"/>
                  <a:gd name="connsiteY27" fmla="*/ 2725670 h 5443472"/>
                  <a:gd name="connsiteX28" fmla="*/ 5057377 w 5069998"/>
                  <a:gd name="connsiteY28" fmla="*/ 2767328 h 5443472"/>
                  <a:gd name="connsiteX29" fmla="*/ 5048444 w 5069998"/>
                  <a:gd name="connsiteY29" fmla="*/ 2835766 h 5443472"/>
                  <a:gd name="connsiteX30" fmla="*/ 2830155 w 5069998"/>
                  <a:gd name="connsiteY30" fmla="*/ 5052555 h 5443472"/>
                  <a:gd name="connsiteX31" fmla="*/ 2785491 w 5069998"/>
                  <a:gd name="connsiteY31" fmla="*/ 5070408 h 5443472"/>
                  <a:gd name="connsiteX32" fmla="*/ 2761671 w 5069998"/>
                  <a:gd name="connsiteY32" fmla="*/ 5064457 h 5443472"/>
                  <a:gd name="connsiteX33" fmla="*/ 2722962 w 5069998"/>
                  <a:gd name="connsiteY33" fmla="*/ 5007921 h 5443472"/>
                  <a:gd name="connsiteX34" fmla="*/ 2722962 w 5069998"/>
                  <a:gd name="connsiteY34" fmla="*/ 2791132 h 5443472"/>
                  <a:gd name="connsiteX35" fmla="*/ 2788469 w 5069998"/>
                  <a:gd name="connsiteY35" fmla="*/ 2725670 h 5443472"/>
                  <a:gd name="connsiteX36" fmla="*/ 1424786 w 5069998"/>
                  <a:gd name="connsiteY36" fmla="*/ 2725670 h 5443472"/>
                  <a:gd name="connsiteX37" fmla="*/ 2535043 w 5069998"/>
                  <a:gd name="connsiteY37" fmla="*/ 2725670 h 5443472"/>
                  <a:gd name="connsiteX38" fmla="*/ 2597551 w 5069998"/>
                  <a:gd name="connsiteY38" fmla="*/ 2791102 h 5443472"/>
                  <a:gd name="connsiteX39" fmla="*/ 2597551 w 5069998"/>
                  <a:gd name="connsiteY39" fmla="*/ 3906426 h 5443472"/>
                  <a:gd name="connsiteX40" fmla="*/ 2558856 w 5069998"/>
                  <a:gd name="connsiteY40" fmla="*/ 3965910 h 5443472"/>
                  <a:gd name="connsiteX41" fmla="*/ 2535043 w 5069998"/>
                  <a:gd name="connsiteY41" fmla="*/ 3971858 h 5443472"/>
                  <a:gd name="connsiteX42" fmla="*/ 2487418 w 5069998"/>
                  <a:gd name="connsiteY42" fmla="*/ 3954013 h 5443472"/>
                  <a:gd name="connsiteX43" fmla="*/ 1383114 w 5069998"/>
                  <a:gd name="connsiteY43" fmla="*/ 2835715 h 5443472"/>
                  <a:gd name="connsiteX44" fmla="*/ 1368231 w 5069998"/>
                  <a:gd name="connsiteY44" fmla="*/ 2767309 h 5443472"/>
                  <a:gd name="connsiteX45" fmla="*/ 1424786 w 5069998"/>
                  <a:gd name="connsiteY45" fmla="*/ 2725670 h 5443472"/>
                  <a:gd name="connsiteX46" fmla="*/ 1119587 w 5069998"/>
                  <a:gd name="connsiteY46" fmla="*/ 1579496 h 5443472"/>
                  <a:gd name="connsiteX47" fmla="*/ 154387 w 5069998"/>
                  <a:gd name="connsiteY47" fmla="*/ 2534776 h 5443472"/>
                  <a:gd name="connsiteX48" fmla="*/ 1119587 w 5069998"/>
                  <a:gd name="connsiteY48" fmla="*/ 3501959 h 5443472"/>
                  <a:gd name="connsiteX49" fmla="*/ 1119587 w 5069998"/>
                  <a:gd name="connsiteY49" fmla="*/ 1579496 h 5443472"/>
                  <a:gd name="connsiteX50" fmla="*/ 1500587 w 5069998"/>
                  <a:gd name="connsiteY50" fmla="*/ 1501708 h 5443472"/>
                  <a:gd name="connsiteX51" fmla="*/ 1500587 w 5069998"/>
                  <a:gd name="connsiteY51" fmla="*/ 2471671 h 5443472"/>
                  <a:gd name="connsiteX52" fmla="*/ 2470550 w 5069998"/>
                  <a:gd name="connsiteY52" fmla="*/ 2471671 h 5443472"/>
                  <a:gd name="connsiteX53" fmla="*/ 2470550 w 5069998"/>
                  <a:gd name="connsiteY53" fmla="*/ 1501708 h 5443472"/>
                  <a:gd name="connsiteX54" fmla="*/ 1500587 w 5069998"/>
                  <a:gd name="connsiteY54" fmla="*/ 1501708 h 5443472"/>
                  <a:gd name="connsiteX55" fmla="*/ 1434467 w 5069998"/>
                  <a:gd name="connsiteY55" fmla="*/ 1374708 h 5443472"/>
                  <a:gd name="connsiteX56" fmla="*/ 2535083 w 5069998"/>
                  <a:gd name="connsiteY56" fmla="*/ 1374708 h 5443472"/>
                  <a:gd name="connsiteX57" fmla="*/ 2597550 w 5069998"/>
                  <a:gd name="connsiteY57" fmla="*/ 1437175 h 5443472"/>
                  <a:gd name="connsiteX58" fmla="*/ 2597550 w 5069998"/>
                  <a:gd name="connsiteY58" fmla="*/ 2537791 h 5443472"/>
                  <a:gd name="connsiteX59" fmla="*/ 2535083 w 5069998"/>
                  <a:gd name="connsiteY59" fmla="*/ 2600258 h 5443472"/>
                  <a:gd name="connsiteX60" fmla="*/ 1434467 w 5069998"/>
                  <a:gd name="connsiteY60" fmla="*/ 2600258 h 5443472"/>
                  <a:gd name="connsiteX61" fmla="*/ 1372000 w 5069998"/>
                  <a:gd name="connsiteY61" fmla="*/ 2537791 h 5443472"/>
                  <a:gd name="connsiteX62" fmla="*/ 1372000 w 5069998"/>
                  <a:gd name="connsiteY62" fmla="*/ 1437175 h 5443472"/>
                  <a:gd name="connsiteX63" fmla="*/ 1434467 w 5069998"/>
                  <a:gd name="connsiteY63" fmla="*/ 1374708 h 5443472"/>
                  <a:gd name="connsiteX64" fmla="*/ 1168491 w 5069998"/>
                  <a:gd name="connsiteY64" fmla="*/ 1361986 h 5443472"/>
                  <a:gd name="connsiteX65" fmla="*/ 1204936 w 5069998"/>
                  <a:gd name="connsiteY65" fmla="*/ 1364590 h 5443472"/>
                  <a:gd name="connsiteX66" fmla="*/ 1246588 w 5069998"/>
                  <a:gd name="connsiteY66" fmla="*/ 1424132 h 5443472"/>
                  <a:gd name="connsiteX67" fmla="*/ 1246588 w 5069998"/>
                  <a:gd name="connsiteY67" fmla="*/ 3656929 h 5443472"/>
                  <a:gd name="connsiteX68" fmla="*/ 1204936 w 5069998"/>
                  <a:gd name="connsiteY68" fmla="*/ 3713493 h 5443472"/>
                  <a:gd name="connsiteX69" fmla="*/ 1181135 w 5069998"/>
                  <a:gd name="connsiteY69" fmla="*/ 3719447 h 5443472"/>
                  <a:gd name="connsiteX70" fmla="*/ 1136508 w 5069998"/>
                  <a:gd name="connsiteY70" fmla="*/ 3701585 h 5443472"/>
                  <a:gd name="connsiteX71" fmla="*/ 17851 w 5069998"/>
                  <a:gd name="connsiteY71" fmla="*/ 2582209 h 5443472"/>
                  <a:gd name="connsiteX72" fmla="*/ 17851 w 5069998"/>
                  <a:gd name="connsiteY72" fmla="*/ 2489920 h 5443472"/>
                  <a:gd name="connsiteX73" fmla="*/ 1136508 w 5069998"/>
                  <a:gd name="connsiteY73" fmla="*/ 1379477 h 5443472"/>
                  <a:gd name="connsiteX74" fmla="*/ 1168491 w 5069998"/>
                  <a:gd name="connsiteY74" fmla="*/ 1361986 h 5443472"/>
                  <a:gd name="connsiteX75" fmla="*/ 2857901 w 5069998"/>
                  <a:gd name="connsiteY75" fmla="*/ 474596 h 5443472"/>
                  <a:gd name="connsiteX76" fmla="*/ 2857901 w 5069998"/>
                  <a:gd name="connsiteY76" fmla="*/ 2471671 h 5443472"/>
                  <a:gd name="connsiteX77" fmla="*/ 4854976 w 5069998"/>
                  <a:gd name="connsiteY77" fmla="*/ 2471671 h 5443472"/>
                  <a:gd name="connsiteX78" fmla="*/ 2857901 w 5069998"/>
                  <a:gd name="connsiteY78" fmla="*/ 474596 h 5443472"/>
                  <a:gd name="connsiteX79" fmla="*/ 2805562 w 5069998"/>
                  <a:gd name="connsiteY79" fmla="*/ 260728 h 5443472"/>
                  <a:gd name="connsiteX80" fmla="*/ 2836433 w 5069998"/>
                  <a:gd name="connsiteY80" fmla="*/ 279325 h 5443472"/>
                  <a:gd name="connsiteX81" fmla="*/ 5053222 w 5069998"/>
                  <a:gd name="connsiteY81" fmla="*/ 2490164 h 5443472"/>
                  <a:gd name="connsiteX82" fmla="*/ 5065124 w 5069998"/>
                  <a:gd name="connsiteY82" fmla="*/ 2558601 h 5443472"/>
                  <a:gd name="connsiteX83" fmla="*/ 5005613 w 5069998"/>
                  <a:gd name="connsiteY83" fmla="*/ 2600259 h 5443472"/>
                  <a:gd name="connsiteX84" fmla="*/ 2794775 w 5069998"/>
                  <a:gd name="connsiteY84" fmla="*/ 2600259 h 5443472"/>
                  <a:gd name="connsiteX85" fmla="*/ 2729313 w 5069998"/>
                  <a:gd name="connsiteY85" fmla="*/ 2537772 h 5443472"/>
                  <a:gd name="connsiteX86" fmla="*/ 2729313 w 5069998"/>
                  <a:gd name="connsiteY86" fmla="*/ 320983 h 5443472"/>
                  <a:gd name="connsiteX87" fmla="*/ 2767995 w 5069998"/>
                  <a:gd name="connsiteY87" fmla="*/ 264448 h 5443472"/>
                  <a:gd name="connsiteX88" fmla="*/ 2805562 w 5069998"/>
                  <a:gd name="connsiteY88" fmla="*/ 260728 h 5443472"/>
                  <a:gd name="connsiteX89" fmla="*/ 2470550 w 5069998"/>
                  <a:gd name="connsiteY89" fmla="*/ 219008 h 5443472"/>
                  <a:gd name="connsiteX90" fmla="*/ 1576787 w 5069998"/>
                  <a:gd name="connsiteY90" fmla="*/ 1114358 h 5443472"/>
                  <a:gd name="connsiteX91" fmla="*/ 2470550 w 5069998"/>
                  <a:gd name="connsiteY91" fmla="*/ 1114358 h 5443472"/>
                  <a:gd name="connsiteX92" fmla="*/ 2470550 w 5069998"/>
                  <a:gd name="connsiteY92" fmla="*/ 219008 h 5443472"/>
                  <a:gd name="connsiteX93" fmla="*/ 2523579 w 5069998"/>
                  <a:gd name="connsiteY93" fmla="*/ 1498 h 5443472"/>
                  <a:gd name="connsiteX94" fmla="*/ 2558892 w 5069998"/>
                  <a:gd name="connsiteY94" fmla="*/ 4104 h 5443472"/>
                  <a:gd name="connsiteX95" fmla="*/ 2597550 w 5069998"/>
                  <a:gd name="connsiteY95" fmla="*/ 66642 h 5443472"/>
                  <a:gd name="connsiteX96" fmla="*/ 2597550 w 5069998"/>
                  <a:gd name="connsiteY96" fmla="*/ 1177429 h 5443472"/>
                  <a:gd name="connsiteX97" fmla="*/ 2535102 w 5069998"/>
                  <a:gd name="connsiteY97" fmla="*/ 1242945 h 5443472"/>
                  <a:gd name="connsiteX98" fmla="*/ 1422933 w 5069998"/>
                  <a:gd name="connsiteY98" fmla="*/ 1242945 h 5443472"/>
                  <a:gd name="connsiteX99" fmla="*/ 1363458 w 5069998"/>
                  <a:gd name="connsiteY99" fmla="*/ 1201253 h 5443472"/>
                  <a:gd name="connsiteX100" fmla="*/ 1378327 w 5069998"/>
                  <a:gd name="connsiteY100" fmla="*/ 1132760 h 5443472"/>
                  <a:gd name="connsiteX101" fmla="*/ 2490496 w 5069998"/>
                  <a:gd name="connsiteY101" fmla="*/ 18994 h 5443472"/>
                  <a:gd name="connsiteX102" fmla="*/ 2523579 w 5069998"/>
                  <a:gd name="connsiteY102" fmla="*/ 1498 h 544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069998" h="5443472">
                    <a:moveTo>
                      <a:pt x="1494237" y="3308284"/>
                    </a:moveTo>
                    <a:cubicBezTo>
                      <a:pt x="1494237" y="4240334"/>
                      <a:pt x="1494237" y="4240334"/>
                      <a:pt x="1494237" y="4240334"/>
                    </a:cubicBezTo>
                    <a:cubicBezTo>
                      <a:pt x="2473725" y="5225984"/>
                      <a:pt x="2473725" y="5225984"/>
                      <a:pt x="2473725" y="5225984"/>
                    </a:cubicBezTo>
                    <a:cubicBezTo>
                      <a:pt x="2473725" y="4293934"/>
                      <a:pt x="2473725" y="4293934"/>
                      <a:pt x="2473725" y="4293934"/>
                    </a:cubicBezTo>
                    <a:cubicBezTo>
                      <a:pt x="1494237" y="3308284"/>
                      <a:pt x="1494237" y="3308284"/>
                      <a:pt x="1494237" y="3308284"/>
                    </a:cubicBezTo>
                    <a:close/>
                    <a:moveTo>
                      <a:pt x="1439668" y="3092731"/>
                    </a:moveTo>
                    <a:cubicBezTo>
                      <a:pt x="1451943" y="3094964"/>
                      <a:pt x="1463845" y="3100917"/>
                      <a:pt x="1472772" y="3109847"/>
                    </a:cubicBezTo>
                    <a:cubicBezTo>
                      <a:pt x="2567794" y="4214152"/>
                      <a:pt x="2567794" y="4214152"/>
                      <a:pt x="2567794" y="4214152"/>
                    </a:cubicBezTo>
                    <a:cubicBezTo>
                      <a:pt x="2585648" y="4226058"/>
                      <a:pt x="2597550" y="4243917"/>
                      <a:pt x="2597550" y="4264753"/>
                    </a:cubicBezTo>
                    <a:cubicBezTo>
                      <a:pt x="2597550" y="5380964"/>
                      <a:pt x="2597550" y="5380964"/>
                      <a:pt x="2597550" y="5380964"/>
                    </a:cubicBezTo>
                    <a:cubicBezTo>
                      <a:pt x="2597550" y="5404777"/>
                      <a:pt x="2582672" y="5428589"/>
                      <a:pt x="2558867" y="5437519"/>
                    </a:cubicBezTo>
                    <a:cubicBezTo>
                      <a:pt x="2552916" y="5440496"/>
                      <a:pt x="2543989" y="5443472"/>
                      <a:pt x="2535063" y="5443472"/>
                    </a:cubicBezTo>
                    <a:cubicBezTo>
                      <a:pt x="2517209" y="5443472"/>
                      <a:pt x="2502331" y="5437519"/>
                      <a:pt x="2487453" y="5422636"/>
                    </a:cubicBezTo>
                    <a:cubicBezTo>
                      <a:pt x="1392431" y="4321308"/>
                      <a:pt x="1392431" y="4321308"/>
                      <a:pt x="1392431" y="4321308"/>
                    </a:cubicBezTo>
                    <a:cubicBezTo>
                      <a:pt x="1374577" y="4309402"/>
                      <a:pt x="1365650" y="4291542"/>
                      <a:pt x="1365650" y="4267730"/>
                    </a:cubicBezTo>
                    <a:cubicBezTo>
                      <a:pt x="1365650" y="3154495"/>
                      <a:pt x="1365650" y="3154495"/>
                      <a:pt x="1365650" y="3154495"/>
                    </a:cubicBezTo>
                    <a:cubicBezTo>
                      <a:pt x="1365650" y="3127706"/>
                      <a:pt x="1380528" y="3106870"/>
                      <a:pt x="1404333" y="3097940"/>
                    </a:cubicBezTo>
                    <a:cubicBezTo>
                      <a:pt x="1414748" y="3091987"/>
                      <a:pt x="1427394" y="3090499"/>
                      <a:pt x="1439668" y="3092731"/>
                    </a:cubicBezTo>
                    <a:close/>
                    <a:moveTo>
                      <a:pt x="2851550" y="2852670"/>
                    </a:moveTo>
                    <a:cubicBezTo>
                      <a:pt x="2851550" y="4851333"/>
                      <a:pt x="2851550" y="4851333"/>
                      <a:pt x="2851550" y="4851333"/>
                    </a:cubicBezTo>
                    <a:cubicBezTo>
                      <a:pt x="4848625" y="2852670"/>
                      <a:pt x="4848625" y="2852670"/>
                      <a:pt x="4848625" y="2852670"/>
                    </a:cubicBezTo>
                    <a:cubicBezTo>
                      <a:pt x="2851550" y="2852670"/>
                      <a:pt x="2851550" y="2852670"/>
                      <a:pt x="2851550" y="2852670"/>
                    </a:cubicBezTo>
                    <a:close/>
                    <a:moveTo>
                      <a:pt x="1576788" y="2852670"/>
                    </a:moveTo>
                    <a:cubicBezTo>
                      <a:pt x="2470551" y="3755958"/>
                      <a:pt x="2470551" y="3755958"/>
                      <a:pt x="2470551" y="3755958"/>
                    </a:cubicBezTo>
                    <a:cubicBezTo>
                      <a:pt x="2470551" y="2852670"/>
                      <a:pt x="2470551" y="2852670"/>
                      <a:pt x="2470551" y="2852670"/>
                    </a:cubicBezTo>
                    <a:cubicBezTo>
                      <a:pt x="1576788" y="2852670"/>
                      <a:pt x="1576788" y="2852670"/>
                      <a:pt x="1576788" y="2852670"/>
                    </a:cubicBezTo>
                    <a:close/>
                    <a:moveTo>
                      <a:pt x="2788469" y="2725670"/>
                    </a:moveTo>
                    <a:cubicBezTo>
                      <a:pt x="5000803" y="2725670"/>
                      <a:pt x="5000803" y="2725670"/>
                      <a:pt x="5000803" y="2725670"/>
                    </a:cubicBezTo>
                    <a:cubicBezTo>
                      <a:pt x="5027601" y="2725670"/>
                      <a:pt x="5051422" y="2743523"/>
                      <a:pt x="5057377" y="2767328"/>
                    </a:cubicBezTo>
                    <a:cubicBezTo>
                      <a:pt x="5069287" y="2791132"/>
                      <a:pt x="5063332" y="2814937"/>
                      <a:pt x="5048444" y="2835766"/>
                    </a:cubicBezTo>
                    <a:cubicBezTo>
                      <a:pt x="2830155" y="5052555"/>
                      <a:pt x="2830155" y="5052555"/>
                      <a:pt x="2830155" y="5052555"/>
                    </a:cubicBezTo>
                    <a:cubicBezTo>
                      <a:pt x="2818244" y="5061481"/>
                      <a:pt x="2803357" y="5070408"/>
                      <a:pt x="2785491" y="5070408"/>
                    </a:cubicBezTo>
                    <a:cubicBezTo>
                      <a:pt x="2779536" y="5070408"/>
                      <a:pt x="2770603" y="5067433"/>
                      <a:pt x="2761671" y="5064457"/>
                    </a:cubicBezTo>
                    <a:cubicBezTo>
                      <a:pt x="2737850" y="5055530"/>
                      <a:pt x="2722962" y="5031726"/>
                      <a:pt x="2722962" y="5007921"/>
                    </a:cubicBezTo>
                    <a:cubicBezTo>
                      <a:pt x="2722962" y="2791132"/>
                      <a:pt x="2722962" y="2791132"/>
                      <a:pt x="2722962" y="2791132"/>
                    </a:cubicBezTo>
                    <a:cubicBezTo>
                      <a:pt x="2722962" y="2755426"/>
                      <a:pt x="2749760" y="2725670"/>
                      <a:pt x="2788469" y="2725670"/>
                    </a:cubicBezTo>
                    <a:close/>
                    <a:moveTo>
                      <a:pt x="1424786" y="2725670"/>
                    </a:moveTo>
                    <a:cubicBezTo>
                      <a:pt x="2535043" y="2725670"/>
                      <a:pt x="2535043" y="2725670"/>
                      <a:pt x="2535043" y="2725670"/>
                    </a:cubicBezTo>
                    <a:cubicBezTo>
                      <a:pt x="2567786" y="2725670"/>
                      <a:pt x="2597551" y="2755412"/>
                      <a:pt x="2597551" y="2791102"/>
                    </a:cubicBezTo>
                    <a:cubicBezTo>
                      <a:pt x="2597551" y="3906426"/>
                      <a:pt x="2597551" y="3906426"/>
                      <a:pt x="2597551" y="3906426"/>
                    </a:cubicBezTo>
                    <a:cubicBezTo>
                      <a:pt x="2597551" y="3933194"/>
                      <a:pt x="2579692" y="3956987"/>
                      <a:pt x="2558856" y="3965910"/>
                    </a:cubicBezTo>
                    <a:cubicBezTo>
                      <a:pt x="2549926" y="3971858"/>
                      <a:pt x="2543973" y="3971858"/>
                      <a:pt x="2535043" y="3971858"/>
                    </a:cubicBezTo>
                    <a:cubicBezTo>
                      <a:pt x="2517184" y="3971858"/>
                      <a:pt x="2499325" y="3965910"/>
                      <a:pt x="2487418" y="3954013"/>
                    </a:cubicBezTo>
                    <a:cubicBezTo>
                      <a:pt x="1383114" y="2835715"/>
                      <a:pt x="1383114" y="2835715"/>
                      <a:pt x="1383114" y="2835715"/>
                    </a:cubicBezTo>
                    <a:cubicBezTo>
                      <a:pt x="1362278" y="2820844"/>
                      <a:pt x="1359301" y="2791102"/>
                      <a:pt x="1368231" y="2767309"/>
                    </a:cubicBezTo>
                    <a:cubicBezTo>
                      <a:pt x="1377161" y="2743515"/>
                      <a:pt x="1397996" y="2725670"/>
                      <a:pt x="1424786" y="2725670"/>
                    </a:cubicBezTo>
                    <a:close/>
                    <a:moveTo>
                      <a:pt x="1119587" y="1579496"/>
                    </a:moveTo>
                    <a:cubicBezTo>
                      <a:pt x="154387" y="2534776"/>
                      <a:pt x="154387" y="2534776"/>
                      <a:pt x="154387" y="2534776"/>
                    </a:cubicBezTo>
                    <a:cubicBezTo>
                      <a:pt x="1119587" y="3501959"/>
                      <a:pt x="1119587" y="3501959"/>
                      <a:pt x="1119587" y="3501959"/>
                    </a:cubicBezTo>
                    <a:cubicBezTo>
                      <a:pt x="1119587" y="1579496"/>
                      <a:pt x="1119587" y="1579496"/>
                      <a:pt x="1119587" y="1579496"/>
                    </a:cubicBezTo>
                    <a:close/>
                    <a:moveTo>
                      <a:pt x="1500587" y="1501708"/>
                    </a:moveTo>
                    <a:cubicBezTo>
                      <a:pt x="1500587" y="2471671"/>
                      <a:pt x="1500587" y="2471671"/>
                      <a:pt x="1500587" y="2471671"/>
                    </a:cubicBezTo>
                    <a:cubicBezTo>
                      <a:pt x="2470550" y="2471671"/>
                      <a:pt x="2470550" y="2471671"/>
                      <a:pt x="2470550" y="2471671"/>
                    </a:cubicBezTo>
                    <a:cubicBezTo>
                      <a:pt x="2470550" y="1501708"/>
                      <a:pt x="2470550" y="1501708"/>
                      <a:pt x="2470550" y="1501708"/>
                    </a:cubicBezTo>
                    <a:cubicBezTo>
                      <a:pt x="1500587" y="1501708"/>
                      <a:pt x="1500587" y="1501708"/>
                      <a:pt x="1500587" y="1501708"/>
                    </a:cubicBezTo>
                    <a:close/>
                    <a:moveTo>
                      <a:pt x="1434467" y="1374708"/>
                    </a:moveTo>
                    <a:cubicBezTo>
                      <a:pt x="2535083" y="1374708"/>
                      <a:pt x="2535083" y="1374708"/>
                      <a:pt x="2535083" y="1374708"/>
                    </a:cubicBezTo>
                    <a:cubicBezTo>
                      <a:pt x="2567804" y="1374708"/>
                      <a:pt x="2597550" y="1404454"/>
                      <a:pt x="2597550" y="1437175"/>
                    </a:cubicBezTo>
                    <a:cubicBezTo>
                      <a:pt x="2597550" y="2537791"/>
                      <a:pt x="2597550" y="2537791"/>
                      <a:pt x="2597550" y="2537791"/>
                    </a:cubicBezTo>
                    <a:cubicBezTo>
                      <a:pt x="2597550" y="2570512"/>
                      <a:pt x="2567804" y="2600258"/>
                      <a:pt x="2535083" y="2600258"/>
                    </a:cubicBezTo>
                    <a:cubicBezTo>
                      <a:pt x="1434467" y="2600258"/>
                      <a:pt x="1434467" y="2600258"/>
                      <a:pt x="1434467" y="2600258"/>
                    </a:cubicBezTo>
                    <a:cubicBezTo>
                      <a:pt x="1401746" y="2600258"/>
                      <a:pt x="1372000" y="2570512"/>
                      <a:pt x="1372000" y="2537791"/>
                    </a:cubicBezTo>
                    <a:cubicBezTo>
                      <a:pt x="1372000" y="1437175"/>
                      <a:pt x="1372000" y="1437175"/>
                      <a:pt x="1372000" y="1437175"/>
                    </a:cubicBezTo>
                    <a:cubicBezTo>
                      <a:pt x="1372000" y="1404454"/>
                      <a:pt x="1401746" y="1374708"/>
                      <a:pt x="1434467" y="1374708"/>
                    </a:cubicBezTo>
                    <a:close/>
                    <a:moveTo>
                      <a:pt x="1168491" y="1361986"/>
                    </a:moveTo>
                    <a:cubicBezTo>
                      <a:pt x="1180391" y="1359380"/>
                      <a:pt x="1193036" y="1360125"/>
                      <a:pt x="1204936" y="1364590"/>
                    </a:cubicBezTo>
                    <a:cubicBezTo>
                      <a:pt x="1228737" y="1376499"/>
                      <a:pt x="1246588" y="1397338"/>
                      <a:pt x="1246588" y="1424132"/>
                    </a:cubicBezTo>
                    <a:cubicBezTo>
                      <a:pt x="1246588" y="3656929"/>
                      <a:pt x="1246588" y="3656929"/>
                      <a:pt x="1246588" y="3656929"/>
                    </a:cubicBezTo>
                    <a:cubicBezTo>
                      <a:pt x="1246588" y="3680745"/>
                      <a:pt x="1228737" y="3704562"/>
                      <a:pt x="1204936" y="3713493"/>
                    </a:cubicBezTo>
                    <a:cubicBezTo>
                      <a:pt x="1196011" y="3716470"/>
                      <a:pt x="1187085" y="3719447"/>
                      <a:pt x="1181135" y="3719447"/>
                    </a:cubicBezTo>
                    <a:cubicBezTo>
                      <a:pt x="1166259" y="3719447"/>
                      <a:pt x="1148408" y="3713493"/>
                      <a:pt x="1136508" y="3701585"/>
                    </a:cubicBezTo>
                    <a:cubicBezTo>
                      <a:pt x="17851" y="2582209"/>
                      <a:pt x="17851" y="2582209"/>
                      <a:pt x="17851" y="2582209"/>
                    </a:cubicBezTo>
                    <a:cubicBezTo>
                      <a:pt x="-5950" y="2555416"/>
                      <a:pt x="-5950" y="2516714"/>
                      <a:pt x="17851" y="2489920"/>
                    </a:cubicBezTo>
                    <a:cubicBezTo>
                      <a:pt x="1136508" y="1379477"/>
                      <a:pt x="1136508" y="1379477"/>
                      <a:pt x="1136508" y="1379477"/>
                    </a:cubicBezTo>
                    <a:cubicBezTo>
                      <a:pt x="1145433" y="1370545"/>
                      <a:pt x="1156590" y="1364590"/>
                      <a:pt x="1168491" y="1361986"/>
                    </a:cubicBezTo>
                    <a:close/>
                    <a:moveTo>
                      <a:pt x="2857901" y="474596"/>
                    </a:moveTo>
                    <a:cubicBezTo>
                      <a:pt x="2857901" y="2471671"/>
                      <a:pt x="2857901" y="2471671"/>
                      <a:pt x="2857901" y="2471671"/>
                    </a:cubicBezTo>
                    <a:cubicBezTo>
                      <a:pt x="4854976" y="2471671"/>
                      <a:pt x="4854976" y="2471671"/>
                      <a:pt x="4854976" y="2471671"/>
                    </a:cubicBezTo>
                    <a:cubicBezTo>
                      <a:pt x="2857901" y="474596"/>
                      <a:pt x="2857901" y="474596"/>
                      <a:pt x="2857901" y="474596"/>
                    </a:cubicBezTo>
                    <a:close/>
                    <a:moveTo>
                      <a:pt x="2805562" y="260728"/>
                    </a:moveTo>
                    <a:cubicBezTo>
                      <a:pt x="2817836" y="262960"/>
                      <a:pt x="2828994" y="268911"/>
                      <a:pt x="2836433" y="279325"/>
                    </a:cubicBezTo>
                    <a:cubicBezTo>
                      <a:pt x="5053222" y="2490164"/>
                      <a:pt x="5053222" y="2490164"/>
                      <a:pt x="5053222" y="2490164"/>
                    </a:cubicBezTo>
                    <a:cubicBezTo>
                      <a:pt x="5071076" y="2510992"/>
                      <a:pt x="5074051" y="2537772"/>
                      <a:pt x="5065124" y="2558601"/>
                    </a:cubicBezTo>
                    <a:cubicBezTo>
                      <a:pt x="5056198" y="2585381"/>
                      <a:pt x="5032393" y="2600259"/>
                      <a:pt x="5005613" y="2600259"/>
                    </a:cubicBezTo>
                    <a:cubicBezTo>
                      <a:pt x="2794775" y="2600259"/>
                      <a:pt x="2794775" y="2600259"/>
                      <a:pt x="2794775" y="2600259"/>
                    </a:cubicBezTo>
                    <a:cubicBezTo>
                      <a:pt x="2759069" y="2600259"/>
                      <a:pt x="2729313" y="2570504"/>
                      <a:pt x="2729313" y="2537772"/>
                    </a:cubicBezTo>
                    <a:cubicBezTo>
                      <a:pt x="2729313" y="320983"/>
                      <a:pt x="2729313" y="320983"/>
                      <a:pt x="2729313" y="320983"/>
                    </a:cubicBezTo>
                    <a:cubicBezTo>
                      <a:pt x="2729313" y="297179"/>
                      <a:pt x="2744191" y="273374"/>
                      <a:pt x="2767995" y="264448"/>
                    </a:cubicBezTo>
                    <a:cubicBezTo>
                      <a:pt x="2779898" y="259984"/>
                      <a:pt x="2793288" y="258497"/>
                      <a:pt x="2805562" y="260728"/>
                    </a:cubicBezTo>
                    <a:close/>
                    <a:moveTo>
                      <a:pt x="2470550" y="219008"/>
                    </a:moveTo>
                    <a:cubicBezTo>
                      <a:pt x="1576787" y="1114358"/>
                      <a:pt x="1576787" y="1114358"/>
                      <a:pt x="1576787" y="1114358"/>
                    </a:cubicBezTo>
                    <a:cubicBezTo>
                      <a:pt x="2470550" y="1114358"/>
                      <a:pt x="2470550" y="1114358"/>
                      <a:pt x="2470550" y="1114358"/>
                    </a:cubicBezTo>
                    <a:cubicBezTo>
                      <a:pt x="2470550" y="219008"/>
                      <a:pt x="2470550" y="219008"/>
                      <a:pt x="2470550" y="219008"/>
                    </a:cubicBezTo>
                    <a:close/>
                    <a:moveTo>
                      <a:pt x="2523579" y="1498"/>
                    </a:moveTo>
                    <a:cubicBezTo>
                      <a:pt x="2535846" y="-1107"/>
                      <a:pt x="2548484" y="-363"/>
                      <a:pt x="2558892" y="4104"/>
                    </a:cubicBezTo>
                    <a:cubicBezTo>
                      <a:pt x="2582682" y="16016"/>
                      <a:pt x="2597550" y="39840"/>
                      <a:pt x="2597550" y="66642"/>
                    </a:cubicBezTo>
                    <a:cubicBezTo>
                      <a:pt x="2597550" y="1177429"/>
                      <a:pt x="2597550" y="1177429"/>
                      <a:pt x="2597550" y="1177429"/>
                    </a:cubicBezTo>
                    <a:cubicBezTo>
                      <a:pt x="2597550" y="1213166"/>
                      <a:pt x="2567813" y="1242945"/>
                      <a:pt x="2535102" y="1242945"/>
                    </a:cubicBezTo>
                    <a:cubicBezTo>
                      <a:pt x="1422933" y="1242945"/>
                      <a:pt x="1422933" y="1242945"/>
                      <a:pt x="1422933" y="1242945"/>
                    </a:cubicBezTo>
                    <a:cubicBezTo>
                      <a:pt x="1396169" y="1242945"/>
                      <a:pt x="1375353" y="1228056"/>
                      <a:pt x="1363458" y="1201253"/>
                    </a:cubicBezTo>
                    <a:cubicBezTo>
                      <a:pt x="1354537" y="1177429"/>
                      <a:pt x="1360485" y="1153607"/>
                      <a:pt x="1378327" y="1132760"/>
                    </a:cubicBezTo>
                    <a:cubicBezTo>
                      <a:pt x="2490496" y="18994"/>
                      <a:pt x="2490496" y="18994"/>
                      <a:pt x="2490496" y="18994"/>
                    </a:cubicBezTo>
                    <a:cubicBezTo>
                      <a:pt x="2499418" y="10060"/>
                      <a:pt x="2511313" y="4104"/>
                      <a:pt x="2523579" y="1498"/>
                    </a:cubicBezTo>
                    <a:close/>
                  </a:path>
                </a:pathLst>
              </a:custGeom>
              <a:solidFill>
                <a:srgbClr val="07111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109" name="Freeform 33">
                <a:extLst>
                  <a:ext uri="{FF2B5EF4-FFF2-40B4-BE49-F238E27FC236}">
                    <a16:creationId xmlns:a16="http://schemas.microsoft.com/office/drawing/2014/main" id="{75A7440B-049C-4B4A-A5B1-A656534100A6}"/>
                  </a:ext>
                </a:extLst>
              </p:cNvPr>
              <p:cNvSpPr>
                <a:spLocks/>
              </p:cNvSpPr>
              <p:nvPr/>
            </p:nvSpPr>
            <p:spPr bwMode="auto">
              <a:xfrm>
                <a:off x="5568649" y="2912798"/>
                <a:ext cx="997529" cy="1032496"/>
              </a:xfrm>
              <a:custGeom>
                <a:avLst/>
                <a:gdLst>
                  <a:gd name="connsiteX0" fmla="*/ 1303937 w 4156368"/>
                  <a:gd name="connsiteY0" fmla="*/ 3089225 h 4302066"/>
                  <a:gd name="connsiteX1" fmla="*/ 1319183 w 4156368"/>
                  <a:gd name="connsiteY1" fmla="*/ 3097777 h 4302066"/>
                  <a:gd name="connsiteX2" fmla="*/ 1991522 w 4156368"/>
                  <a:gd name="connsiteY2" fmla="*/ 3767070 h 4302066"/>
                  <a:gd name="connsiteX3" fmla="*/ 2000447 w 4156368"/>
                  <a:gd name="connsiteY3" fmla="*/ 3784918 h 4302066"/>
                  <a:gd name="connsiteX4" fmla="*/ 2000447 w 4156368"/>
                  <a:gd name="connsiteY4" fmla="*/ 4272758 h 4302066"/>
                  <a:gd name="connsiteX5" fmla="*/ 1952848 w 4156368"/>
                  <a:gd name="connsiteY5" fmla="*/ 4293580 h 4302066"/>
                  <a:gd name="connsiteX6" fmla="*/ 1277534 w 4156368"/>
                  <a:gd name="connsiteY6" fmla="*/ 3621313 h 4302066"/>
                  <a:gd name="connsiteX7" fmla="*/ 1268609 w 4156368"/>
                  <a:gd name="connsiteY7" fmla="*/ 3600490 h 4302066"/>
                  <a:gd name="connsiteX8" fmla="*/ 1268609 w 4156368"/>
                  <a:gd name="connsiteY8" fmla="*/ 3115625 h 4302066"/>
                  <a:gd name="connsiteX9" fmla="*/ 1286459 w 4156368"/>
                  <a:gd name="connsiteY9" fmla="*/ 3091828 h 4302066"/>
                  <a:gd name="connsiteX10" fmla="*/ 1303937 w 4156368"/>
                  <a:gd name="connsiteY10" fmla="*/ 3089225 h 4302066"/>
                  <a:gd name="connsiteX11" fmla="*/ 2666800 w 4156368"/>
                  <a:gd name="connsiteY11" fmla="*/ 2409603 h 4302066"/>
                  <a:gd name="connsiteX12" fmla="*/ 4122339 w 4156368"/>
                  <a:gd name="connsiteY12" fmla="*/ 2409603 h 4302066"/>
                  <a:gd name="connsiteX13" fmla="*/ 4143175 w 4156368"/>
                  <a:gd name="connsiteY13" fmla="*/ 2460238 h 4302066"/>
                  <a:gd name="connsiteX14" fmla="*/ 2684659 w 4156368"/>
                  <a:gd name="connsiteY14" fmla="*/ 3910774 h 4302066"/>
                  <a:gd name="connsiteX15" fmla="*/ 2637034 w 4156368"/>
                  <a:gd name="connsiteY15" fmla="*/ 3889924 h 4302066"/>
                  <a:gd name="connsiteX16" fmla="*/ 2637034 w 4156368"/>
                  <a:gd name="connsiteY16" fmla="*/ 2439388 h 4302066"/>
                  <a:gd name="connsiteX17" fmla="*/ 2666800 w 4156368"/>
                  <a:gd name="connsiteY17" fmla="*/ 2409603 h 4302066"/>
                  <a:gd name="connsiteX18" fmla="*/ 1613890 w 4156368"/>
                  <a:gd name="connsiteY18" fmla="*/ 2409603 h 4302066"/>
                  <a:gd name="connsiteX19" fmla="*/ 1980007 w 4156368"/>
                  <a:gd name="connsiteY19" fmla="*/ 2409603 h 4302066"/>
                  <a:gd name="connsiteX20" fmla="*/ 2006796 w 4156368"/>
                  <a:gd name="connsiteY20" fmla="*/ 2439382 h 4302066"/>
                  <a:gd name="connsiteX21" fmla="*/ 2006796 w 4156368"/>
                  <a:gd name="connsiteY21" fmla="*/ 2799712 h 4302066"/>
                  <a:gd name="connsiteX22" fmla="*/ 1959171 w 4156368"/>
                  <a:gd name="connsiteY22" fmla="*/ 2820558 h 4302066"/>
                  <a:gd name="connsiteX23" fmla="*/ 1596031 w 4156368"/>
                  <a:gd name="connsiteY23" fmla="*/ 2460228 h 4302066"/>
                  <a:gd name="connsiteX24" fmla="*/ 1613890 w 4156368"/>
                  <a:gd name="connsiteY24" fmla="*/ 2409603 h 4302066"/>
                  <a:gd name="connsiteX25" fmla="*/ 610941 w 4156368"/>
                  <a:gd name="connsiteY25" fmla="*/ 1357261 h 4302066"/>
                  <a:gd name="connsiteX26" fmla="*/ 628439 w 4156368"/>
                  <a:gd name="connsiteY26" fmla="*/ 1359863 h 4302066"/>
                  <a:gd name="connsiteX27" fmla="*/ 646309 w 4156368"/>
                  <a:gd name="connsiteY27" fmla="*/ 1386626 h 4302066"/>
                  <a:gd name="connsiteX28" fmla="*/ 646309 w 4156368"/>
                  <a:gd name="connsiteY28" fmla="*/ 2558270 h 4302066"/>
                  <a:gd name="connsiteX29" fmla="*/ 595676 w 4156368"/>
                  <a:gd name="connsiteY29" fmla="*/ 2579086 h 4302066"/>
                  <a:gd name="connsiteX30" fmla="*/ 8934 w 4156368"/>
                  <a:gd name="connsiteY30" fmla="*/ 1996238 h 4302066"/>
                  <a:gd name="connsiteX31" fmla="*/ 8934 w 4156368"/>
                  <a:gd name="connsiteY31" fmla="*/ 1954606 h 4302066"/>
                  <a:gd name="connsiteX32" fmla="*/ 595676 w 4156368"/>
                  <a:gd name="connsiteY32" fmla="*/ 1365810 h 4302066"/>
                  <a:gd name="connsiteX33" fmla="*/ 610941 w 4156368"/>
                  <a:gd name="connsiteY33" fmla="*/ 1357261 h 4302066"/>
                  <a:gd name="connsiteX34" fmla="*/ 1304709 w 4156368"/>
                  <a:gd name="connsiteY34" fmla="*/ 1055465 h 4302066"/>
                  <a:gd name="connsiteX35" fmla="*/ 1980023 w 4156368"/>
                  <a:gd name="connsiteY35" fmla="*/ 1055465 h 4302066"/>
                  <a:gd name="connsiteX36" fmla="*/ 2006797 w 4156368"/>
                  <a:gd name="connsiteY36" fmla="*/ 1085247 h 4302066"/>
                  <a:gd name="connsiteX37" fmla="*/ 2006797 w 4156368"/>
                  <a:gd name="connsiteY37" fmla="*/ 1746408 h 4302066"/>
                  <a:gd name="connsiteX38" fmla="*/ 1980023 w 4156368"/>
                  <a:gd name="connsiteY38" fmla="*/ 1776190 h 4302066"/>
                  <a:gd name="connsiteX39" fmla="*/ 1304709 w 4156368"/>
                  <a:gd name="connsiteY39" fmla="*/ 1776190 h 4302066"/>
                  <a:gd name="connsiteX40" fmla="*/ 1274959 w 4156368"/>
                  <a:gd name="connsiteY40" fmla="*/ 1746408 h 4302066"/>
                  <a:gd name="connsiteX41" fmla="*/ 1274959 w 4156368"/>
                  <a:gd name="connsiteY41" fmla="*/ 1085247 h 4302066"/>
                  <a:gd name="connsiteX42" fmla="*/ 1304709 w 4156368"/>
                  <a:gd name="connsiteY42" fmla="*/ 1055465 h 4302066"/>
                  <a:gd name="connsiteX43" fmla="*/ 2664997 w 4156368"/>
                  <a:gd name="connsiteY43" fmla="*/ 250504 h 4302066"/>
                  <a:gd name="connsiteX44" fmla="*/ 2679872 w 4156368"/>
                  <a:gd name="connsiteY44" fmla="*/ 257946 h 4302066"/>
                  <a:gd name="connsiteX45" fmla="*/ 4146559 w 4156368"/>
                  <a:gd name="connsiteY45" fmla="*/ 1725582 h 4302066"/>
                  <a:gd name="connsiteX46" fmla="*/ 4125734 w 4156368"/>
                  <a:gd name="connsiteY46" fmla="*/ 1776190 h 4302066"/>
                  <a:gd name="connsiteX47" fmla="*/ 2659046 w 4156368"/>
                  <a:gd name="connsiteY47" fmla="*/ 1776190 h 4302066"/>
                  <a:gd name="connsiteX48" fmla="*/ 2632271 w 4156368"/>
                  <a:gd name="connsiteY48" fmla="*/ 1746421 h 4302066"/>
                  <a:gd name="connsiteX49" fmla="*/ 2632271 w 4156368"/>
                  <a:gd name="connsiteY49" fmla="*/ 278785 h 4302066"/>
                  <a:gd name="connsiteX50" fmla="*/ 2650121 w 4156368"/>
                  <a:gd name="connsiteY50" fmla="*/ 251992 h 4302066"/>
                  <a:gd name="connsiteX51" fmla="*/ 2664997 w 4156368"/>
                  <a:gd name="connsiteY51" fmla="*/ 250504 h 4302066"/>
                  <a:gd name="connsiteX52" fmla="*/ 1974024 w 4156368"/>
                  <a:gd name="connsiteY52" fmla="*/ 56 h 4302066"/>
                  <a:gd name="connsiteX53" fmla="*/ 1988921 w 4156368"/>
                  <a:gd name="connsiteY53" fmla="*/ 4160 h 4302066"/>
                  <a:gd name="connsiteX54" fmla="*/ 2006796 w 4156368"/>
                  <a:gd name="connsiteY54" fmla="*/ 28040 h 4302066"/>
                  <a:gd name="connsiteX55" fmla="*/ 2006796 w 4156368"/>
                  <a:gd name="connsiteY55" fmla="*/ 392204 h 4302066"/>
                  <a:gd name="connsiteX56" fmla="*/ 1979983 w 4156368"/>
                  <a:gd name="connsiteY56" fmla="*/ 422053 h 4302066"/>
                  <a:gd name="connsiteX57" fmla="*/ 1610552 w 4156368"/>
                  <a:gd name="connsiteY57" fmla="*/ 422053 h 4302066"/>
                  <a:gd name="connsiteX58" fmla="*/ 1586718 w 4156368"/>
                  <a:gd name="connsiteY58" fmla="*/ 374294 h 4302066"/>
                  <a:gd name="connsiteX59" fmla="*/ 1959128 w 4156368"/>
                  <a:gd name="connsiteY59" fmla="*/ 7145 h 4302066"/>
                  <a:gd name="connsiteX60" fmla="*/ 1974024 w 4156368"/>
                  <a:gd name="connsiteY60" fmla="*/ 56 h 4302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156368" h="4302066">
                    <a:moveTo>
                      <a:pt x="1303937" y="3089225"/>
                    </a:moveTo>
                    <a:cubicBezTo>
                      <a:pt x="1309515" y="3090340"/>
                      <a:pt x="1314721" y="3093315"/>
                      <a:pt x="1319183" y="3097777"/>
                    </a:cubicBezTo>
                    <a:cubicBezTo>
                      <a:pt x="1991522" y="3767070"/>
                      <a:pt x="1991522" y="3767070"/>
                      <a:pt x="1991522" y="3767070"/>
                    </a:cubicBezTo>
                    <a:cubicBezTo>
                      <a:pt x="1997472" y="3770044"/>
                      <a:pt x="2000447" y="3775994"/>
                      <a:pt x="2000447" y="3784918"/>
                    </a:cubicBezTo>
                    <a:cubicBezTo>
                      <a:pt x="2000447" y="4272758"/>
                      <a:pt x="2000447" y="4272758"/>
                      <a:pt x="2000447" y="4272758"/>
                    </a:cubicBezTo>
                    <a:cubicBezTo>
                      <a:pt x="2000447" y="4299530"/>
                      <a:pt x="1967723" y="4311428"/>
                      <a:pt x="1952848" y="4293580"/>
                    </a:cubicBezTo>
                    <a:cubicBezTo>
                      <a:pt x="1277534" y="3621313"/>
                      <a:pt x="1277534" y="3621313"/>
                      <a:pt x="1277534" y="3621313"/>
                    </a:cubicBezTo>
                    <a:cubicBezTo>
                      <a:pt x="1274559" y="3618338"/>
                      <a:pt x="1268609" y="3609414"/>
                      <a:pt x="1268609" y="3600490"/>
                    </a:cubicBezTo>
                    <a:cubicBezTo>
                      <a:pt x="1268609" y="3115625"/>
                      <a:pt x="1268609" y="3115625"/>
                      <a:pt x="1268609" y="3115625"/>
                    </a:cubicBezTo>
                    <a:cubicBezTo>
                      <a:pt x="1268609" y="3103726"/>
                      <a:pt x="1277534" y="3094802"/>
                      <a:pt x="1286459" y="3091828"/>
                    </a:cubicBezTo>
                    <a:cubicBezTo>
                      <a:pt x="1292409" y="3088853"/>
                      <a:pt x="1298359" y="3088109"/>
                      <a:pt x="1303937" y="3089225"/>
                    </a:cubicBezTo>
                    <a:close/>
                    <a:moveTo>
                      <a:pt x="2666800" y="2409603"/>
                    </a:moveTo>
                    <a:cubicBezTo>
                      <a:pt x="2666800" y="2409603"/>
                      <a:pt x="2666800" y="2409603"/>
                      <a:pt x="4122339" y="2409603"/>
                    </a:cubicBezTo>
                    <a:cubicBezTo>
                      <a:pt x="4149128" y="2409603"/>
                      <a:pt x="4161034" y="2439388"/>
                      <a:pt x="4143175" y="2460238"/>
                    </a:cubicBezTo>
                    <a:cubicBezTo>
                      <a:pt x="4143175" y="2460238"/>
                      <a:pt x="4143175" y="2460238"/>
                      <a:pt x="2684659" y="3910774"/>
                    </a:cubicBezTo>
                    <a:cubicBezTo>
                      <a:pt x="2669776" y="3925666"/>
                      <a:pt x="2637034" y="3916731"/>
                      <a:pt x="2637034" y="3889924"/>
                    </a:cubicBezTo>
                    <a:cubicBezTo>
                      <a:pt x="2637034" y="3889924"/>
                      <a:pt x="2637034" y="3889924"/>
                      <a:pt x="2637034" y="2439388"/>
                    </a:cubicBezTo>
                    <a:cubicBezTo>
                      <a:pt x="2637034" y="2421517"/>
                      <a:pt x="2651917" y="2409603"/>
                      <a:pt x="2666800" y="2409603"/>
                    </a:cubicBezTo>
                    <a:close/>
                    <a:moveTo>
                      <a:pt x="1613890" y="2409603"/>
                    </a:moveTo>
                    <a:cubicBezTo>
                      <a:pt x="1980007" y="2409603"/>
                      <a:pt x="1980007" y="2409603"/>
                      <a:pt x="1980007" y="2409603"/>
                    </a:cubicBezTo>
                    <a:cubicBezTo>
                      <a:pt x="1994890" y="2409603"/>
                      <a:pt x="2006796" y="2421515"/>
                      <a:pt x="2006796" y="2439382"/>
                    </a:cubicBezTo>
                    <a:cubicBezTo>
                      <a:pt x="2006796" y="2799712"/>
                      <a:pt x="2006796" y="2799712"/>
                      <a:pt x="2006796" y="2799712"/>
                    </a:cubicBezTo>
                    <a:cubicBezTo>
                      <a:pt x="2006796" y="2826513"/>
                      <a:pt x="1977031" y="2841403"/>
                      <a:pt x="1959171" y="2820558"/>
                    </a:cubicBezTo>
                    <a:cubicBezTo>
                      <a:pt x="1596031" y="2460228"/>
                      <a:pt x="1596031" y="2460228"/>
                      <a:pt x="1596031" y="2460228"/>
                    </a:cubicBezTo>
                    <a:cubicBezTo>
                      <a:pt x="1578171" y="2439382"/>
                      <a:pt x="1590077" y="2409603"/>
                      <a:pt x="1613890" y="2409603"/>
                    </a:cubicBezTo>
                    <a:close/>
                    <a:moveTo>
                      <a:pt x="610941" y="1357261"/>
                    </a:moveTo>
                    <a:cubicBezTo>
                      <a:pt x="616525" y="1356145"/>
                      <a:pt x="622482" y="1356889"/>
                      <a:pt x="628439" y="1359863"/>
                    </a:cubicBezTo>
                    <a:cubicBezTo>
                      <a:pt x="637374" y="1362836"/>
                      <a:pt x="646309" y="1374731"/>
                      <a:pt x="646309" y="1386626"/>
                    </a:cubicBezTo>
                    <a:cubicBezTo>
                      <a:pt x="646309" y="1386626"/>
                      <a:pt x="646309" y="1386626"/>
                      <a:pt x="646309" y="2558270"/>
                    </a:cubicBezTo>
                    <a:cubicBezTo>
                      <a:pt x="646309" y="2585033"/>
                      <a:pt x="613547" y="2596928"/>
                      <a:pt x="595676" y="2579086"/>
                    </a:cubicBezTo>
                    <a:cubicBezTo>
                      <a:pt x="595676" y="2579086"/>
                      <a:pt x="595676" y="2579086"/>
                      <a:pt x="8934" y="1996238"/>
                    </a:cubicBezTo>
                    <a:cubicBezTo>
                      <a:pt x="-2979" y="1984343"/>
                      <a:pt x="-2979" y="1963527"/>
                      <a:pt x="8934" y="1954606"/>
                    </a:cubicBezTo>
                    <a:cubicBezTo>
                      <a:pt x="8934" y="1954606"/>
                      <a:pt x="8934" y="1954606"/>
                      <a:pt x="595676" y="1365810"/>
                    </a:cubicBezTo>
                    <a:cubicBezTo>
                      <a:pt x="600144" y="1361349"/>
                      <a:pt x="605356" y="1358376"/>
                      <a:pt x="610941" y="1357261"/>
                    </a:cubicBezTo>
                    <a:close/>
                    <a:moveTo>
                      <a:pt x="1304709" y="1055465"/>
                    </a:moveTo>
                    <a:cubicBezTo>
                      <a:pt x="1980023" y="1055465"/>
                      <a:pt x="1980023" y="1055465"/>
                      <a:pt x="1980023" y="1055465"/>
                    </a:cubicBezTo>
                    <a:cubicBezTo>
                      <a:pt x="1991922" y="1055465"/>
                      <a:pt x="2006797" y="1067378"/>
                      <a:pt x="2006797" y="1085247"/>
                    </a:cubicBezTo>
                    <a:cubicBezTo>
                      <a:pt x="2006797" y="1746408"/>
                      <a:pt x="2006797" y="1746408"/>
                      <a:pt x="2006797" y="1746408"/>
                    </a:cubicBezTo>
                    <a:cubicBezTo>
                      <a:pt x="2006797" y="1764277"/>
                      <a:pt x="1991922" y="1776190"/>
                      <a:pt x="1980023" y="1776190"/>
                    </a:cubicBezTo>
                    <a:cubicBezTo>
                      <a:pt x="1304709" y="1776190"/>
                      <a:pt x="1304709" y="1776190"/>
                      <a:pt x="1304709" y="1776190"/>
                    </a:cubicBezTo>
                    <a:cubicBezTo>
                      <a:pt x="1286859" y="1776190"/>
                      <a:pt x="1274959" y="1764277"/>
                      <a:pt x="1274959" y="1746408"/>
                    </a:cubicBezTo>
                    <a:cubicBezTo>
                      <a:pt x="1274959" y="1085247"/>
                      <a:pt x="1274959" y="1085247"/>
                      <a:pt x="1274959" y="1085247"/>
                    </a:cubicBezTo>
                    <a:cubicBezTo>
                      <a:pt x="1274959" y="1067378"/>
                      <a:pt x="1286859" y="1055465"/>
                      <a:pt x="1304709" y="1055465"/>
                    </a:cubicBezTo>
                    <a:close/>
                    <a:moveTo>
                      <a:pt x="2664997" y="250504"/>
                    </a:moveTo>
                    <a:cubicBezTo>
                      <a:pt x="2670203" y="251248"/>
                      <a:pt x="2675409" y="253481"/>
                      <a:pt x="2679872" y="257946"/>
                    </a:cubicBezTo>
                    <a:cubicBezTo>
                      <a:pt x="2679872" y="257946"/>
                      <a:pt x="2679872" y="257946"/>
                      <a:pt x="4146559" y="1725582"/>
                    </a:cubicBezTo>
                    <a:cubicBezTo>
                      <a:pt x="4167384" y="1743444"/>
                      <a:pt x="4152509" y="1776190"/>
                      <a:pt x="4125734" y="1776190"/>
                    </a:cubicBezTo>
                    <a:cubicBezTo>
                      <a:pt x="4125734" y="1776190"/>
                      <a:pt x="4125734" y="1776190"/>
                      <a:pt x="2659046" y="1776190"/>
                    </a:cubicBezTo>
                    <a:cubicBezTo>
                      <a:pt x="2644171" y="1776190"/>
                      <a:pt x="2632271" y="1761305"/>
                      <a:pt x="2632271" y="1746421"/>
                    </a:cubicBezTo>
                    <a:cubicBezTo>
                      <a:pt x="2632271" y="1746421"/>
                      <a:pt x="2632271" y="1746421"/>
                      <a:pt x="2632271" y="278785"/>
                    </a:cubicBezTo>
                    <a:cubicBezTo>
                      <a:pt x="2632271" y="266877"/>
                      <a:pt x="2638221" y="257946"/>
                      <a:pt x="2650121" y="251992"/>
                    </a:cubicBezTo>
                    <a:cubicBezTo>
                      <a:pt x="2654584" y="250504"/>
                      <a:pt x="2659790" y="249759"/>
                      <a:pt x="2664997" y="250504"/>
                    </a:cubicBezTo>
                    <a:close/>
                    <a:moveTo>
                      <a:pt x="1974024" y="56"/>
                    </a:moveTo>
                    <a:cubicBezTo>
                      <a:pt x="1979238" y="-317"/>
                      <a:pt x="1984452" y="1175"/>
                      <a:pt x="1988921" y="4160"/>
                    </a:cubicBezTo>
                    <a:cubicBezTo>
                      <a:pt x="2000838" y="7145"/>
                      <a:pt x="2006796" y="16100"/>
                      <a:pt x="2006796" y="28040"/>
                    </a:cubicBezTo>
                    <a:cubicBezTo>
                      <a:pt x="2006796" y="28040"/>
                      <a:pt x="2006796" y="28040"/>
                      <a:pt x="2006796" y="392204"/>
                    </a:cubicBezTo>
                    <a:cubicBezTo>
                      <a:pt x="2006796" y="410114"/>
                      <a:pt x="1991900" y="422053"/>
                      <a:pt x="1979983" y="422053"/>
                    </a:cubicBezTo>
                    <a:cubicBezTo>
                      <a:pt x="1979983" y="422053"/>
                      <a:pt x="1979983" y="422053"/>
                      <a:pt x="1610552" y="422053"/>
                    </a:cubicBezTo>
                    <a:cubicBezTo>
                      <a:pt x="1583738" y="422053"/>
                      <a:pt x="1571821" y="389219"/>
                      <a:pt x="1586718" y="374294"/>
                    </a:cubicBezTo>
                    <a:cubicBezTo>
                      <a:pt x="1586718" y="374294"/>
                      <a:pt x="1586718" y="374294"/>
                      <a:pt x="1959128" y="7145"/>
                    </a:cubicBezTo>
                    <a:cubicBezTo>
                      <a:pt x="1963597" y="2668"/>
                      <a:pt x="1968811" y="429"/>
                      <a:pt x="1974024" y="56"/>
                    </a:cubicBezTo>
                    <a:close/>
                  </a:path>
                </a:pathLst>
              </a:custGeom>
              <a:solidFill>
                <a:srgbClr val="12284C"/>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cxnSp>
        <p:nvCxnSpPr>
          <p:cNvPr id="111" name="Straight Arrow Connector 110">
            <a:extLst>
              <a:ext uri="{FF2B5EF4-FFF2-40B4-BE49-F238E27FC236}">
                <a16:creationId xmlns:a16="http://schemas.microsoft.com/office/drawing/2014/main" id="{11925FDE-2935-4F29-B9F7-A238C8355912}"/>
              </a:ext>
            </a:extLst>
          </p:cNvPr>
          <p:cNvCxnSpPr>
            <a:cxnSpLocks/>
          </p:cNvCxnSpPr>
          <p:nvPr/>
        </p:nvCxnSpPr>
        <p:spPr>
          <a:xfrm>
            <a:off x="8774119" y="4162549"/>
            <a:ext cx="456924" cy="0"/>
          </a:xfrm>
          <a:prstGeom prst="straightConnector1">
            <a:avLst/>
          </a:prstGeom>
          <a:ln w="19050" cap="rnd" cmpd="sng" algn="ctr">
            <a:solidFill>
              <a:srgbClr val="12284C"/>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3631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78"/>
                                        </p:tgtEl>
                                        <p:attrNameLst>
                                          <p:attrName>style.visibility</p:attrName>
                                        </p:attrNameLst>
                                      </p:cBhvr>
                                      <p:to>
                                        <p:strVal val="visible"/>
                                      </p:to>
                                    </p:set>
                                    <p:animEffect transition="in" filter="dissolve">
                                      <p:cBhvr>
                                        <p:cTn id="12"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7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9299"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BcgText 1"/>
          <p:cNvSpPr txBox="1"/>
          <p:nvPr userDrawn="1">
            <p:custDataLst>
              <p:tags r:id="rId4"/>
            </p:custDataLst>
          </p:nvPr>
        </p:nvSpPr>
        <p:spPr>
          <a:xfrm>
            <a:off x="639248" y="3040042"/>
            <a:ext cx="8633706" cy="548640"/>
          </a:xfrm>
          <a:prstGeom prst="rect">
            <a:avLst/>
          </a:prstGeom>
          <a:noFill/>
          <a:ln cap="rnd">
            <a:noFill/>
          </a:ln>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Open Sans"/>
                <a:ea typeface="+mn-ea"/>
                <a:cs typeface="+mn-cs"/>
              </a:rPr>
              <a:t>ESSER Overview</a:t>
            </a:r>
          </a:p>
        </p:txBody>
      </p:sp>
    </p:spTree>
    <p:custDataLst>
      <p:tags r:id="rId2"/>
    </p:custDataLst>
    <p:extLst>
      <p:ext uri="{BB962C8B-B14F-4D97-AF65-F5344CB8AC3E}">
        <p14:creationId xmlns:p14="http://schemas.microsoft.com/office/powerpoint/2010/main" val="3201832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347"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ECAE20-F2B7-43C8-BF2D-5494489866D3}"/>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Open Sans Semibold" panose="020B0706030804020204" pitchFamily="34" charset="0"/>
              <a:ea typeface="+mj-ea"/>
              <a:cs typeface="+mj-cs"/>
              <a:sym typeface="Open Sans Semibold" panose="020B0706030804020204" pitchFamily="34" charset="0"/>
            </a:endParaRPr>
          </a:p>
        </p:txBody>
      </p:sp>
      <p:sp>
        <p:nvSpPr>
          <p:cNvPr id="3" name="Title 2">
            <a:extLst>
              <a:ext uri="{FF2B5EF4-FFF2-40B4-BE49-F238E27FC236}">
                <a16:creationId xmlns:a16="http://schemas.microsoft.com/office/drawing/2014/main" id="{57CBBF6E-A7F5-4A09-AC54-4C39490C2547}"/>
              </a:ext>
            </a:extLst>
          </p:cNvPr>
          <p:cNvSpPr>
            <a:spLocks noGrp="1"/>
          </p:cNvSpPr>
          <p:nvPr>
            <p:ph type="title"/>
          </p:nvPr>
        </p:nvSpPr>
        <p:spPr>
          <a:xfrm>
            <a:off x="630000" y="622800"/>
            <a:ext cx="10933350" cy="886397"/>
          </a:xfrm>
        </p:spPr>
        <p:txBody>
          <a:bodyPr vert="horz"/>
          <a:lstStyle/>
          <a:p>
            <a:r>
              <a:rPr lang="en-US" sz="3200" dirty="0"/>
              <a:t>Oversight must ensure that uses of funds are necessary, allowable, and reasonable</a:t>
            </a:r>
          </a:p>
        </p:txBody>
      </p:sp>
      <p:sp>
        <p:nvSpPr>
          <p:cNvPr id="9" name="Oval 8">
            <a:extLst>
              <a:ext uri="{FF2B5EF4-FFF2-40B4-BE49-F238E27FC236}">
                <a16:creationId xmlns:a16="http://schemas.microsoft.com/office/drawing/2014/main" id="{CC9FD684-EE5B-411F-A3FD-7B2E9459C746}"/>
              </a:ext>
            </a:extLst>
          </p:cNvPr>
          <p:cNvSpPr/>
          <p:nvPr/>
        </p:nvSpPr>
        <p:spPr>
          <a:xfrm>
            <a:off x="1527127" y="1710007"/>
            <a:ext cx="1781907" cy="1781907"/>
          </a:xfrm>
          <a:prstGeom prst="ellipse">
            <a:avLst/>
          </a:prstGeom>
          <a:solidFill>
            <a:srgbClr val="FFA4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5" name="Oval 44">
            <a:extLst>
              <a:ext uri="{FF2B5EF4-FFF2-40B4-BE49-F238E27FC236}">
                <a16:creationId xmlns:a16="http://schemas.microsoft.com/office/drawing/2014/main" id="{206362D4-B4F3-46B6-B84C-0B27DEA842CE}"/>
              </a:ext>
            </a:extLst>
          </p:cNvPr>
          <p:cNvSpPr/>
          <p:nvPr/>
        </p:nvSpPr>
        <p:spPr>
          <a:xfrm>
            <a:off x="5256708" y="1710007"/>
            <a:ext cx="1781907" cy="1781907"/>
          </a:xfrm>
          <a:prstGeom prst="ellipse">
            <a:avLst/>
          </a:prstGeom>
          <a:solidFill>
            <a:srgbClr val="07B59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6" name="Oval 45">
            <a:extLst>
              <a:ext uri="{FF2B5EF4-FFF2-40B4-BE49-F238E27FC236}">
                <a16:creationId xmlns:a16="http://schemas.microsoft.com/office/drawing/2014/main" id="{57DD57E0-53EF-46C5-B691-F95785CA1DEB}"/>
              </a:ext>
            </a:extLst>
          </p:cNvPr>
          <p:cNvSpPr/>
          <p:nvPr/>
        </p:nvSpPr>
        <p:spPr>
          <a:xfrm>
            <a:off x="8882966" y="1704926"/>
            <a:ext cx="1781907" cy="1781907"/>
          </a:xfrm>
          <a:prstGeom prst="ellipse">
            <a:avLst/>
          </a:prstGeom>
          <a:solidFill>
            <a:srgbClr val="00548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46">
            <a:extLst>
              <a:ext uri="{FF2B5EF4-FFF2-40B4-BE49-F238E27FC236}">
                <a16:creationId xmlns:a16="http://schemas.microsoft.com/office/drawing/2014/main" id="{D7489C3B-5578-4689-9205-8816997B3BBC}"/>
              </a:ext>
            </a:extLst>
          </p:cNvPr>
          <p:cNvGrpSpPr>
            <a:grpSpLocks noChangeAspect="1"/>
          </p:cNvGrpSpPr>
          <p:nvPr/>
        </p:nvGrpSpPr>
        <p:grpSpPr>
          <a:xfrm>
            <a:off x="1913440" y="2024321"/>
            <a:ext cx="1021198" cy="1021198"/>
            <a:chOff x="5273675" y="2606675"/>
            <a:chExt cx="1644650" cy="1644650"/>
          </a:xfrm>
        </p:grpSpPr>
        <p:sp>
          <p:nvSpPr>
            <p:cNvPr id="48" name="AutoShape 3">
              <a:extLst>
                <a:ext uri="{FF2B5EF4-FFF2-40B4-BE49-F238E27FC236}">
                  <a16:creationId xmlns:a16="http://schemas.microsoft.com/office/drawing/2014/main" id="{F4412F80-9453-4692-AA1C-83BD8312386E}"/>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6">
              <a:extLst>
                <a:ext uri="{FF2B5EF4-FFF2-40B4-BE49-F238E27FC236}">
                  <a16:creationId xmlns:a16="http://schemas.microsoft.com/office/drawing/2014/main" id="{80393AF1-2639-4567-9468-CF25998F1638}"/>
                </a:ext>
              </a:extLst>
            </p:cNvPr>
            <p:cNvSpPr>
              <a:spLocks/>
            </p:cNvSpPr>
            <p:nvPr/>
          </p:nvSpPr>
          <p:spPr bwMode="auto">
            <a:xfrm>
              <a:off x="5467193" y="2879725"/>
              <a:ext cx="1254442" cy="1095375"/>
            </a:xfrm>
            <a:custGeom>
              <a:avLst/>
              <a:gdLst>
                <a:gd name="connsiteX0" fmla="*/ 628735 w 1254442"/>
                <a:gd name="connsiteY0" fmla="*/ 790575 h 1095375"/>
                <a:gd name="connsiteX1" fmla="*/ 589820 w 1254442"/>
                <a:gd name="connsiteY1" fmla="*/ 806072 h 1095375"/>
                <a:gd name="connsiteX2" fmla="*/ 573245 w 1254442"/>
                <a:gd name="connsiteY2" fmla="*/ 843404 h 1095375"/>
                <a:gd name="connsiteX3" fmla="*/ 589820 w 1254442"/>
                <a:gd name="connsiteY3" fmla="*/ 881442 h 1095375"/>
                <a:gd name="connsiteX4" fmla="*/ 628735 w 1254442"/>
                <a:gd name="connsiteY4" fmla="*/ 896938 h 1095375"/>
                <a:gd name="connsiteX5" fmla="*/ 666929 w 1254442"/>
                <a:gd name="connsiteY5" fmla="*/ 881442 h 1095375"/>
                <a:gd name="connsiteX6" fmla="*/ 682783 w 1254442"/>
                <a:gd name="connsiteY6" fmla="*/ 843404 h 1095375"/>
                <a:gd name="connsiteX7" fmla="*/ 666929 w 1254442"/>
                <a:gd name="connsiteY7" fmla="*/ 806072 h 1095375"/>
                <a:gd name="connsiteX8" fmla="*/ 628735 w 1254442"/>
                <a:gd name="connsiteY8" fmla="*/ 790575 h 1095375"/>
                <a:gd name="connsiteX9" fmla="*/ 584357 w 1254442"/>
                <a:gd name="connsiteY9" fmla="*/ 400050 h 1095375"/>
                <a:gd name="connsiteX10" fmla="*/ 584357 w 1254442"/>
                <a:gd name="connsiteY10" fmla="*/ 535155 h 1095375"/>
                <a:gd name="connsiteX11" fmla="*/ 610075 w 1254442"/>
                <a:gd name="connsiteY11" fmla="*/ 766763 h 1095375"/>
                <a:gd name="connsiteX12" fmla="*/ 644365 w 1254442"/>
                <a:gd name="connsiteY12" fmla="*/ 766763 h 1095375"/>
                <a:gd name="connsiteX13" fmla="*/ 670082 w 1254442"/>
                <a:gd name="connsiteY13" fmla="*/ 535155 h 1095375"/>
                <a:gd name="connsiteX14" fmla="*/ 670082 w 1254442"/>
                <a:gd name="connsiteY14" fmla="*/ 400050 h 1095375"/>
                <a:gd name="connsiteX15" fmla="*/ 584357 w 1254442"/>
                <a:gd name="connsiteY15" fmla="*/ 400050 h 1095375"/>
                <a:gd name="connsiteX16" fmla="*/ 620787 w 1254442"/>
                <a:gd name="connsiteY16" fmla="*/ 106590 h 1095375"/>
                <a:gd name="connsiteX17" fmla="*/ 633652 w 1254442"/>
                <a:gd name="connsiteY17" fmla="*/ 106590 h 1095375"/>
                <a:gd name="connsiteX18" fmla="*/ 1162523 w 1254442"/>
                <a:gd name="connsiteY18" fmla="*/ 1021182 h 1095375"/>
                <a:gd name="connsiteX19" fmla="*/ 1156091 w 1254442"/>
                <a:gd name="connsiteY19" fmla="*/ 1031875 h 1095375"/>
                <a:gd name="connsiteX20" fmla="*/ 98348 w 1254442"/>
                <a:gd name="connsiteY20" fmla="*/ 1031875 h 1095375"/>
                <a:gd name="connsiteX21" fmla="*/ 91916 w 1254442"/>
                <a:gd name="connsiteY21" fmla="*/ 1021182 h 1095375"/>
                <a:gd name="connsiteX22" fmla="*/ 620787 w 1254442"/>
                <a:gd name="connsiteY22" fmla="*/ 106590 h 1095375"/>
                <a:gd name="connsiteX23" fmla="*/ 626428 w 1254442"/>
                <a:gd name="connsiteY23" fmla="*/ 31750 h 1095375"/>
                <a:gd name="connsiteX24" fmla="*/ 30321 w 1254442"/>
                <a:gd name="connsiteY24" fmla="*/ 1063625 h 1095375"/>
                <a:gd name="connsiteX25" fmla="*/ 1222534 w 1254442"/>
                <a:gd name="connsiteY25" fmla="*/ 1063625 h 1095375"/>
                <a:gd name="connsiteX26" fmla="*/ 626428 w 1254442"/>
                <a:gd name="connsiteY26" fmla="*/ 31750 h 1095375"/>
                <a:gd name="connsiteX27" fmla="*/ 627221 w 1254442"/>
                <a:gd name="connsiteY27" fmla="*/ 0 h 1095375"/>
                <a:gd name="connsiteX28" fmla="*/ 654367 w 1254442"/>
                <a:gd name="connsiteY28" fmla="*/ 15710 h 1095375"/>
                <a:gd name="connsiteX29" fmla="*/ 1250156 w 1254442"/>
                <a:gd name="connsiteY29" fmla="*/ 1048247 h 1095375"/>
                <a:gd name="connsiteX30" fmla="*/ 1250156 w 1254442"/>
                <a:gd name="connsiteY30" fmla="*/ 1079666 h 1095375"/>
                <a:gd name="connsiteX31" fmla="*/ 1223010 w 1254442"/>
                <a:gd name="connsiteY31" fmla="*/ 1095375 h 1095375"/>
                <a:gd name="connsiteX32" fmla="*/ 31432 w 1254442"/>
                <a:gd name="connsiteY32" fmla="*/ 1095375 h 1095375"/>
                <a:gd name="connsiteX33" fmla="*/ 4286 w 1254442"/>
                <a:gd name="connsiteY33" fmla="*/ 1079666 h 1095375"/>
                <a:gd name="connsiteX34" fmla="*/ 4286 w 1254442"/>
                <a:gd name="connsiteY34" fmla="*/ 1048247 h 1095375"/>
                <a:gd name="connsiteX35" fmla="*/ 600075 w 1254442"/>
                <a:gd name="connsiteY35" fmla="*/ 15710 h 1095375"/>
                <a:gd name="connsiteX36" fmla="*/ 627221 w 1254442"/>
                <a:gd name="connsiteY36"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54442" h="1095375">
                  <a:moveTo>
                    <a:pt x="628735" y="790575"/>
                  </a:moveTo>
                  <a:cubicBezTo>
                    <a:pt x="612881" y="790575"/>
                    <a:pt x="599909" y="796210"/>
                    <a:pt x="589820" y="806072"/>
                  </a:cubicBezTo>
                  <a:cubicBezTo>
                    <a:pt x="579010" y="815933"/>
                    <a:pt x="573245" y="828612"/>
                    <a:pt x="573245" y="843404"/>
                  </a:cubicBezTo>
                  <a:cubicBezTo>
                    <a:pt x="573245" y="858901"/>
                    <a:pt x="579010" y="870876"/>
                    <a:pt x="589820" y="881442"/>
                  </a:cubicBezTo>
                  <a:cubicBezTo>
                    <a:pt x="599909" y="892007"/>
                    <a:pt x="612881" y="896938"/>
                    <a:pt x="628735" y="896938"/>
                  </a:cubicBezTo>
                  <a:cubicBezTo>
                    <a:pt x="643868" y="896938"/>
                    <a:pt x="656840" y="892007"/>
                    <a:pt x="666929" y="881442"/>
                  </a:cubicBezTo>
                  <a:cubicBezTo>
                    <a:pt x="677739" y="870876"/>
                    <a:pt x="682783" y="858901"/>
                    <a:pt x="682783" y="843404"/>
                  </a:cubicBezTo>
                  <a:cubicBezTo>
                    <a:pt x="682783" y="828612"/>
                    <a:pt x="677739" y="815933"/>
                    <a:pt x="666929" y="806072"/>
                  </a:cubicBezTo>
                  <a:cubicBezTo>
                    <a:pt x="656840" y="796210"/>
                    <a:pt x="643868" y="790575"/>
                    <a:pt x="628735" y="790575"/>
                  </a:cubicBezTo>
                  <a:close/>
                  <a:moveTo>
                    <a:pt x="584357" y="400050"/>
                  </a:moveTo>
                  <a:cubicBezTo>
                    <a:pt x="584357" y="400050"/>
                    <a:pt x="584357" y="400050"/>
                    <a:pt x="584357" y="535155"/>
                  </a:cubicBezTo>
                  <a:cubicBezTo>
                    <a:pt x="584357" y="578760"/>
                    <a:pt x="592930" y="656678"/>
                    <a:pt x="610075" y="766763"/>
                  </a:cubicBezTo>
                  <a:cubicBezTo>
                    <a:pt x="610075" y="766763"/>
                    <a:pt x="610075" y="766763"/>
                    <a:pt x="644365" y="766763"/>
                  </a:cubicBezTo>
                  <a:cubicBezTo>
                    <a:pt x="662224" y="656678"/>
                    <a:pt x="670082" y="578760"/>
                    <a:pt x="670082" y="535155"/>
                  </a:cubicBezTo>
                  <a:cubicBezTo>
                    <a:pt x="670082" y="535155"/>
                    <a:pt x="670082" y="535155"/>
                    <a:pt x="670082" y="400050"/>
                  </a:cubicBezTo>
                  <a:cubicBezTo>
                    <a:pt x="670082" y="400050"/>
                    <a:pt x="670082" y="400050"/>
                    <a:pt x="584357" y="400050"/>
                  </a:cubicBezTo>
                  <a:close/>
                  <a:moveTo>
                    <a:pt x="620787" y="106590"/>
                  </a:moveTo>
                  <a:cubicBezTo>
                    <a:pt x="623646" y="101600"/>
                    <a:pt x="630793" y="101600"/>
                    <a:pt x="633652" y="106590"/>
                  </a:cubicBezTo>
                  <a:cubicBezTo>
                    <a:pt x="633652" y="106590"/>
                    <a:pt x="633652" y="106590"/>
                    <a:pt x="1162523" y="1021182"/>
                  </a:cubicBezTo>
                  <a:cubicBezTo>
                    <a:pt x="1165382" y="1026172"/>
                    <a:pt x="1161809" y="1031875"/>
                    <a:pt x="1156091" y="1031875"/>
                  </a:cubicBezTo>
                  <a:cubicBezTo>
                    <a:pt x="1156091" y="1031875"/>
                    <a:pt x="1156091" y="1031875"/>
                    <a:pt x="98348" y="1031875"/>
                  </a:cubicBezTo>
                  <a:cubicBezTo>
                    <a:pt x="92631" y="1031875"/>
                    <a:pt x="89057" y="1026172"/>
                    <a:pt x="91916" y="1021182"/>
                  </a:cubicBezTo>
                  <a:cubicBezTo>
                    <a:pt x="91916" y="1021182"/>
                    <a:pt x="91916" y="1021182"/>
                    <a:pt x="620787" y="106590"/>
                  </a:cubicBezTo>
                  <a:close/>
                  <a:moveTo>
                    <a:pt x="626428" y="31750"/>
                  </a:moveTo>
                  <a:cubicBezTo>
                    <a:pt x="30321" y="1063625"/>
                    <a:pt x="30321" y="1063625"/>
                    <a:pt x="30321" y="1063625"/>
                  </a:cubicBezTo>
                  <a:cubicBezTo>
                    <a:pt x="1222534" y="1063625"/>
                    <a:pt x="1222534" y="1063625"/>
                    <a:pt x="1222534" y="1063625"/>
                  </a:cubicBezTo>
                  <a:cubicBezTo>
                    <a:pt x="626428" y="31750"/>
                    <a:pt x="626428" y="31750"/>
                    <a:pt x="626428" y="31750"/>
                  </a:cubicBezTo>
                  <a:close/>
                  <a:moveTo>
                    <a:pt x="627221" y="0"/>
                  </a:moveTo>
                  <a:cubicBezTo>
                    <a:pt x="638651" y="0"/>
                    <a:pt x="648652" y="5713"/>
                    <a:pt x="654367" y="15710"/>
                  </a:cubicBezTo>
                  <a:cubicBezTo>
                    <a:pt x="1250156" y="1048247"/>
                    <a:pt x="1250156" y="1048247"/>
                    <a:pt x="1250156" y="1048247"/>
                  </a:cubicBezTo>
                  <a:cubicBezTo>
                    <a:pt x="1255871" y="1058244"/>
                    <a:pt x="1255871" y="1069669"/>
                    <a:pt x="1250156" y="1079666"/>
                  </a:cubicBezTo>
                  <a:cubicBezTo>
                    <a:pt x="1244441" y="1089663"/>
                    <a:pt x="1234440" y="1095375"/>
                    <a:pt x="1223010" y="1095375"/>
                  </a:cubicBezTo>
                  <a:cubicBezTo>
                    <a:pt x="31432" y="1095375"/>
                    <a:pt x="31432" y="1095375"/>
                    <a:pt x="31432" y="1095375"/>
                  </a:cubicBezTo>
                  <a:cubicBezTo>
                    <a:pt x="20002" y="1095375"/>
                    <a:pt x="10001" y="1089663"/>
                    <a:pt x="4286" y="1079666"/>
                  </a:cubicBezTo>
                  <a:cubicBezTo>
                    <a:pt x="-1429" y="1069669"/>
                    <a:pt x="-1429" y="1058244"/>
                    <a:pt x="4286" y="1048247"/>
                  </a:cubicBezTo>
                  <a:cubicBezTo>
                    <a:pt x="600075" y="15710"/>
                    <a:pt x="600075" y="15710"/>
                    <a:pt x="600075" y="15710"/>
                  </a:cubicBezTo>
                  <a:cubicBezTo>
                    <a:pt x="605790" y="5713"/>
                    <a:pt x="615791" y="0"/>
                    <a:pt x="62722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50" name="Group 49">
            <a:extLst>
              <a:ext uri="{FF2B5EF4-FFF2-40B4-BE49-F238E27FC236}">
                <a16:creationId xmlns:a16="http://schemas.microsoft.com/office/drawing/2014/main" id="{ACCDC273-FB7E-408F-91C8-31D9FB2CE6F8}"/>
              </a:ext>
            </a:extLst>
          </p:cNvPr>
          <p:cNvGrpSpPr>
            <a:grpSpLocks noChangeAspect="1"/>
          </p:cNvGrpSpPr>
          <p:nvPr/>
        </p:nvGrpSpPr>
        <p:grpSpPr>
          <a:xfrm>
            <a:off x="5478175" y="1978055"/>
            <a:ext cx="1235650" cy="1235650"/>
            <a:chOff x="5273675" y="2606675"/>
            <a:chExt cx="1644650" cy="1644650"/>
          </a:xfrm>
        </p:grpSpPr>
        <p:sp>
          <p:nvSpPr>
            <p:cNvPr id="51" name="AutoShape 3">
              <a:extLst>
                <a:ext uri="{FF2B5EF4-FFF2-40B4-BE49-F238E27FC236}">
                  <a16:creationId xmlns:a16="http://schemas.microsoft.com/office/drawing/2014/main" id="{BEE98E36-C38C-4A48-86DB-F3C6AF2811A9}"/>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7">
              <a:extLst>
                <a:ext uri="{FF2B5EF4-FFF2-40B4-BE49-F238E27FC236}">
                  <a16:creationId xmlns:a16="http://schemas.microsoft.com/office/drawing/2014/main" id="{13032E4C-28CA-4A16-BCCC-E5CA0BF603D9}"/>
                </a:ext>
              </a:extLst>
            </p:cNvPr>
            <p:cNvSpPr>
              <a:spLocks/>
            </p:cNvSpPr>
            <p:nvPr/>
          </p:nvSpPr>
          <p:spPr bwMode="auto">
            <a:xfrm>
              <a:off x="5646738" y="2776538"/>
              <a:ext cx="898525" cy="1304925"/>
            </a:xfrm>
            <a:custGeom>
              <a:avLst/>
              <a:gdLst>
                <a:gd name="connsiteX0" fmla="*/ 445952 w 898525"/>
                <a:gd name="connsiteY0" fmla="*/ 1044575 h 1304925"/>
                <a:gd name="connsiteX1" fmla="*/ 733560 w 898525"/>
                <a:gd name="connsiteY1" fmla="*/ 1044575 h 1304925"/>
                <a:gd name="connsiteX2" fmla="*/ 749300 w 898525"/>
                <a:gd name="connsiteY2" fmla="*/ 1060450 h 1304925"/>
                <a:gd name="connsiteX3" fmla="*/ 733560 w 898525"/>
                <a:gd name="connsiteY3" fmla="*/ 1076325 h 1304925"/>
                <a:gd name="connsiteX4" fmla="*/ 445952 w 898525"/>
                <a:gd name="connsiteY4" fmla="*/ 1076325 h 1304925"/>
                <a:gd name="connsiteX5" fmla="*/ 430212 w 898525"/>
                <a:gd name="connsiteY5" fmla="*/ 1060450 h 1304925"/>
                <a:gd name="connsiteX6" fmla="*/ 445952 w 898525"/>
                <a:gd name="connsiteY6" fmla="*/ 1044575 h 1304925"/>
                <a:gd name="connsiteX7" fmla="*/ 445952 w 898525"/>
                <a:gd name="connsiteY7" fmla="*/ 958850 h 1304925"/>
                <a:gd name="connsiteX8" fmla="*/ 733560 w 898525"/>
                <a:gd name="connsiteY8" fmla="*/ 958850 h 1304925"/>
                <a:gd name="connsiteX9" fmla="*/ 749300 w 898525"/>
                <a:gd name="connsiteY9" fmla="*/ 974725 h 1304925"/>
                <a:gd name="connsiteX10" fmla="*/ 733560 w 898525"/>
                <a:gd name="connsiteY10" fmla="*/ 990600 h 1304925"/>
                <a:gd name="connsiteX11" fmla="*/ 445952 w 898525"/>
                <a:gd name="connsiteY11" fmla="*/ 990600 h 1304925"/>
                <a:gd name="connsiteX12" fmla="*/ 430212 w 898525"/>
                <a:gd name="connsiteY12" fmla="*/ 974725 h 1304925"/>
                <a:gd name="connsiteX13" fmla="*/ 445952 w 898525"/>
                <a:gd name="connsiteY13" fmla="*/ 958850 h 1304925"/>
                <a:gd name="connsiteX14" fmla="*/ 164892 w 898525"/>
                <a:gd name="connsiteY14" fmla="*/ 941387 h 1304925"/>
                <a:gd name="connsiteX15" fmla="*/ 256759 w 898525"/>
                <a:gd name="connsiteY15" fmla="*/ 941387 h 1304925"/>
                <a:gd name="connsiteX16" fmla="*/ 225425 w 898525"/>
                <a:gd name="connsiteY16" fmla="*/ 972722 h 1304925"/>
                <a:gd name="connsiteX17" fmla="*/ 180559 w 898525"/>
                <a:gd name="connsiteY17" fmla="*/ 972722 h 1304925"/>
                <a:gd name="connsiteX18" fmla="*/ 180559 w 898525"/>
                <a:gd name="connsiteY18" fmla="*/ 1062453 h 1304925"/>
                <a:gd name="connsiteX19" fmla="*/ 270290 w 898525"/>
                <a:gd name="connsiteY19" fmla="*/ 1062453 h 1304925"/>
                <a:gd name="connsiteX20" fmla="*/ 270290 w 898525"/>
                <a:gd name="connsiteY20" fmla="*/ 1058892 h 1304925"/>
                <a:gd name="connsiteX21" fmla="*/ 301625 w 898525"/>
                <a:gd name="connsiteY21" fmla="*/ 1027557 h 1304925"/>
                <a:gd name="connsiteX22" fmla="*/ 301625 w 898525"/>
                <a:gd name="connsiteY22" fmla="*/ 1078120 h 1304925"/>
                <a:gd name="connsiteX23" fmla="*/ 285957 w 898525"/>
                <a:gd name="connsiteY23" fmla="*/ 1093787 h 1304925"/>
                <a:gd name="connsiteX24" fmla="*/ 164892 w 898525"/>
                <a:gd name="connsiteY24" fmla="*/ 1093787 h 1304925"/>
                <a:gd name="connsiteX25" fmla="*/ 149225 w 898525"/>
                <a:gd name="connsiteY25" fmla="*/ 1078120 h 1304925"/>
                <a:gd name="connsiteX26" fmla="*/ 149225 w 898525"/>
                <a:gd name="connsiteY26" fmla="*/ 957054 h 1304925"/>
                <a:gd name="connsiteX27" fmla="*/ 164892 w 898525"/>
                <a:gd name="connsiteY27" fmla="*/ 941387 h 1304925"/>
                <a:gd name="connsiteX28" fmla="*/ 311196 w 898525"/>
                <a:gd name="connsiteY28" fmla="*/ 930342 h 1304925"/>
                <a:gd name="connsiteX29" fmla="*/ 333306 w 898525"/>
                <a:gd name="connsiteY29" fmla="*/ 930342 h 1304925"/>
                <a:gd name="connsiteX30" fmla="*/ 333306 w 898525"/>
                <a:gd name="connsiteY30" fmla="*/ 952443 h 1304925"/>
                <a:gd name="connsiteX31" fmla="*/ 302637 w 898525"/>
                <a:gd name="connsiteY31" fmla="*/ 983100 h 1304925"/>
                <a:gd name="connsiteX32" fmla="*/ 271255 w 898525"/>
                <a:gd name="connsiteY32" fmla="*/ 1014470 h 1304925"/>
                <a:gd name="connsiteX33" fmla="*/ 247006 w 898525"/>
                <a:gd name="connsiteY33" fmla="*/ 1038710 h 1304925"/>
                <a:gd name="connsiteX34" fmla="*/ 236307 w 898525"/>
                <a:gd name="connsiteY34" fmla="*/ 1042988 h 1304925"/>
                <a:gd name="connsiteX35" fmla="*/ 224896 w 898525"/>
                <a:gd name="connsiteY35" fmla="*/ 1038710 h 1304925"/>
                <a:gd name="connsiteX36" fmla="*/ 197793 w 898525"/>
                <a:gd name="connsiteY36" fmla="*/ 1010905 h 1304925"/>
                <a:gd name="connsiteX37" fmla="*/ 197793 w 898525"/>
                <a:gd name="connsiteY37" fmla="*/ 988804 h 1304925"/>
                <a:gd name="connsiteX38" fmla="*/ 219903 w 898525"/>
                <a:gd name="connsiteY38" fmla="*/ 988804 h 1304925"/>
                <a:gd name="connsiteX39" fmla="*/ 236307 w 898525"/>
                <a:gd name="connsiteY39" fmla="*/ 1005202 h 1304925"/>
                <a:gd name="connsiteX40" fmla="*/ 269829 w 898525"/>
                <a:gd name="connsiteY40" fmla="*/ 971693 h 1304925"/>
                <a:gd name="connsiteX41" fmla="*/ 297645 w 898525"/>
                <a:gd name="connsiteY41" fmla="*/ 943888 h 1304925"/>
                <a:gd name="connsiteX42" fmla="*/ 311196 w 898525"/>
                <a:gd name="connsiteY42" fmla="*/ 930342 h 1304925"/>
                <a:gd name="connsiteX43" fmla="*/ 445952 w 898525"/>
                <a:gd name="connsiteY43" fmla="*/ 766762 h 1304925"/>
                <a:gd name="connsiteX44" fmla="*/ 733560 w 898525"/>
                <a:gd name="connsiteY44" fmla="*/ 766762 h 1304925"/>
                <a:gd name="connsiteX45" fmla="*/ 749300 w 898525"/>
                <a:gd name="connsiteY45" fmla="*/ 782637 h 1304925"/>
                <a:gd name="connsiteX46" fmla="*/ 733560 w 898525"/>
                <a:gd name="connsiteY46" fmla="*/ 798512 h 1304925"/>
                <a:gd name="connsiteX47" fmla="*/ 445952 w 898525"/>
                <a:gd name="connsiteY47" fmla="*/ 798512 h 1304925"/>
                <a:gd name="connsiteX48" fmla="*/ 430212 w 898525"/>
                <a:gd name="connsiteY48" fmla="*/ 782637 h 1304925"/>
                <a:gd name="connsiteX49" fmla="*/ 445952 w 898525"/>
                <a:gd name="connsiteY49" fmla="*/ 766762 h 1304925"/>
                <a:gd name="connsiteX50" fmla="*/ 445952 w 898525"/>
                <a:gd name="connsiteY50" fmla="*/ 681037 h 1304925"/>
                <a:gd name="connsiteX51" fmla="*/ 733560 w 898525"/>
                <a:gd name="connsiteY51" fmla="*/ 681037 h 1304925"/>
                <a:gd name="connsiteX52" fmla="*/ 749300 w 898525"/>
                <a:gd name="connsiteY52" fmla="*/ 696912 h 1304925"/>
                <a:gd name="connsiteX53" fmla="*/ 733560 w 898525"/>
                <a:gd name="connsiteY53" fmla="*/ 712787 h 1304925"/>
                <a:gd name="connsiteX54" fmla="*/ 445952 w 898525"/>
                <a:gd name="connsiteY54" fmla="*/ 712787 h 1304925"/>
                <a:gd name="connsiteX55" fmla="*/ 430212 w 898525"/>
                <a:gd name="connsiteY55" fmla="*/ 696912 h 1304925"/>
                <a:gd name="connsiteX56" fmla="*/ 445952 w 898525"/>
                <a:gd name="connsiteY56" fmla="*/ 681037 h 1304925"/>
                <a:gd name="connsiteX57" fmla="*/ 164892 w 898525"/>
                <a:gd name="connsiteY57" fmla="*/ 663575 h 1304925"/>
                <a:gd name="connsiteX58" fmla="*/ 256759 w 898525"/>
                <a:gd name="connsiteY58" fmla="*/ 663575 h 1304925"/>
                <a:gd name="connsiteX59" fmla="*/ 225425 w 898525"/>
                <a:gd name="connsiteY59" fmla="*/ 694910 h 1304925"/>
                <a:gd name="connsiteX60" fmla="*/ 180559 w 898525"/>
                <a:gd name="connsiteY60" fmla="*/ 694910 h 1304925"/>
                <a:gd name="connsiteX61" fmla="*/ 180559 w 898525"/>
                <a:gd name="connsiteY61" fmla="*/ 784641 h 1304925"/>
                <a:gd name="connsiteX62" fmla="*/ 270290 w 898525"/>
                <a:gd name="connsiteY62" fmla="*/ 784641 h 1304925"/>
                <a:gd name="connsiteX63" fmla="*/ 270290 w 898525"/>
                <a:gd name="connsiteY63" fmla="*/ 781080 h 1304925"/>
                <a:gd name="connsiteX64" fmla="*/ 301625 w 898525"/>
                <a:gd name="connsiteY64" fmla="*/ 749745 h 1304925"/>
                <a:gd name="connsiteX65" fmla="*/ 301625 w 898525"/>
                <a:gd name="connsiteY65" fmla="*/ 800308 h 1304925"/>
                <a:gd name="connsiteX66" fmla="*/ 285957 w 898525"/>
                <a:gd name="connsiteY66" fmla="*/ 815975 h 1304925"/>
                <a:gd name="connsiteX67" fmla="*/ 164892 w 898525"/>
                <a:gd name="connsiteY67" fmla="*/ 815975 h 1304925"/>
                <a:gd name="connsiteX68" fmla="*/ 149225 w 898525"/>
                <a:gd name="connsiteY68" fmla="*/ 800308 h 1304925"/>
                <a:gd name="connsiteX69" fmla="*/ 149225 w 898525"/>
                <a:gd name="connsiteY69" fmla="*/ 679242 h 1304925"/>
                <a:gd name="connsiteX70" fmla="*/ 164892 w 898525"/>
                <a:gd name="connsiteY70" fmla="*/ 663575 h 1304925"/>
                <a:gd name="connsiteX71" fmla="*/ 311196 w 898525"/>
                <a:gd name="connsiteY71" fmla="*/ 653404 h 1304925"/>
                <a:gd name="connsiteX72" fmla="*/ 333306 w 898525"/>
                <a:gd name="connsiteY72" fmla="*/ 653404 h 1304925"/>
                <a:gd name="connsiteX73" fmla="*/ 333306 w 898525"/>
                <a:gd name="connsiteY73" fmla="*/ 676218 h 1304925"/>
                <a:gd name="connsiteX74" fmla="*/ 302637 w 898525"/>
                <a:gd name="connsiteY74" fmla="*/ 706875 h 1304925"/>
                <a:gd name="connsiteX75" fmla="*/ 271255 w 898525"/>
                <a:gd name="connsiteY75" fmla="*/ 738245 h 1304925"/>
                <a:gd name="connsiteX76" fmla="*/ 247006 w 898525"/>
                <a:gd name="connsiteY76" fmla="*/ 761772 h 1304925"/>
                <a:gd name="connsiteX77" fmla="*/ 236307 w 898525"/>
                <a:gd name="connsiteY77" fmla="*/ 766763 h 1304925"/>
                <a:gd name="connsiteX78" fmla="*/ 224896 w 898525"/>
                <a:gd name="connsiteY78" fmla="*/ 761772 h 1304925"/>
                <a:gd name="connsiteX79" fmla="*/ 197793 w 898525"/>
                <a:gd name="connsiteY79" fmla="*/ 734680 h 1304925"/>
                <a:gd name="connsiteX80" fmla="*/ 197793 w 898525"/>
                <a:gd name="connsiteY80" fmla="*/ 712579 h 1304925"/>
                <a:gd name="connsiteX81" fmla="*/ 219903 w 898525"/>
                <a:gd name="connsiteY81" fmla="*/ 712579 h 1304925"/>
                <a:gd name="connsiteX82" fmla="*/ 236307 w 898525"/>
                <a:gd name="connsiteY82" fmla="*/ 728977 h 1304925"/>
                <a:gd name="connsiteX83" fmla="*/ 269829 w 898525"/>
                <a:gd name="connsiteY83" fmla="*/ 695468 h 1304925"/>
                <a:gd name="connsiteX84" fmla="*/ 297645 w 898525"/>
                <a:gd name="connsiteY84" fmla="*/ 667663 h 1304925"/>
                <a:gd name="connsiteX85" fmla="*/ 311196 w 898525"/>
                <a:gd name="connsiteY85" fmla="*/ 653404 h 1304925"/>
                <a:gd name="connsiteX86" fmla="*/ 445952 w 898525"/>
                <a:gd name="connsiteY86" fmla="*/ 485775 h 1304925"/>
                <a:gd name="connsiteX87" fmla="*/ 733560 w 898525"/>
                <a:gd name="connsiteY87" fmla="*/ 485775 h 1304925"/>
                <a:gd name="connsiteX88" fmla="*/ 749300 w 898525"/>
                <a:gd name="connsiteY88" fmla="*/ 501650 h 1304925"/>
                <a:gd name="connsiteX89" fmla="*/ 733560 w 898525"/>
                <a:gd name="connsiteY89" fmla="*/ 517525 h 1304925"/>
                <a:gd name="connsiteX90" fmla="*/ 445952 w 898525"/>
                <a:gd name="connsiteY90" fmla="*/ 517525 h 1304925"/>
                <a:gd name="connsiteX91" fmla="*/ 430212 w 898525"/>
                <a:gd name="connsiteY91" fmla="*/ 501650 h 1304925"/>
                <a:gd name="connsiteX92" fmla="*/ 445952 w 898525"/>
                <a:gd name="connsiteY92" fmla="*/ 485775 h 1304925"/>
                <a:gd name="connsiteX93" fmla="*/ 445952 w 898525"/>
                <a:gd name="connsiteY93" fmla="*/ 400050 h 1304925"/>
                <a:gd name="connsiteX94" fmla="*/ 733560 w 898525"/>
                <a:gd name="connsiteY94" fmla="*/ 400050 h 1304925"/>
                <a:gd name="connsiteX95" fmla="*/ 749300 w 898525"/>
                <a:gd name="connsiteY95" fmla="*/ 415925 h 1304925"/>
                <a:gd name="connsiteX96" fmla="*/ 733560 w 898525"/>
                <a:gd name="connsiteY96" fmla="*/ 431800 h 1304925"/>
                <a:gd name="connsiteX97" fmla="*/ 445952 w 898525"/>
                <a:gd name="connsiteY97" fmla="*/ 431800 h 1304925"/>
                <a:gd name="connsiteX98" fmla="*/ 430212 w 898525"/>
                <a:gd name="connsiteY98" fmla="*/ 415925 h 1304925"/>
                <a:gd name="connsiteX99" fmla="*/ 445952 w 898525"/>
                <a:gd name="connsiteY99" fmla="*/ 400050 h 1304925"/>
                <a:gd name="connsiteX100" fmla="*/ 164892 w 898525"/>
                <a:gd name="connsiteY100" fmla="*/ 382587 h 1304925"/>
                <a:gd name="connsiteX101" fmla="*/ 256759 w 898525"/>
                <a:gd name="connsiteY101" fmla="*/ 382587 h 1304925"/>
                <a:gd name="connsiteX102" fmla="*/ 225425 w 898525"/>
                <a:gd name="connsiteY102" fmla="*/ 413776 h 1304925"/>
                <a:gd name="connsiteX103" fmla="*/ 180559 w 898525"/>
                <a:gd name="connsiteY103" fmla="*/ 413776 h 1304925"/>
                <a:gd name="connsiteX104" fmla="*/ 180559 w 898525"/>
                <a:gd name="connsiteY104" fmla="*/ 503798 h 1304925"/>
                <a:gd name="connsiteX105" fmla="*/ 270290 w 898525"/>
                <a:gd name="connsiteY105" fmla="*/ 503798 h 1304925"/>
                <a:gd name="connsiteX106" fmla="*/ 270290 w 898525"/>
                <a:gd name="connsiteY106" fmla="*/ 499545 h 1304925"/>
                <a:gd name="connsiteX107" fmla="*/ 301625 w 898525"/>
                <a:gd name="connsiteY107" fmla="*/ 468356 h 1304925"/>
                <a:gd name="connsiteX108" fmla="*/ 301625 w 898525"/>
                <a:gd name="connsiteY108" fmla="*/ 519393 h 1304925"/>
                <a:gd name="connsiteX109" fmla="*/ 285957 w 898525"/>
                <a:gd name="connsiteY109" fmla="*/ 534987 h 1304925"/>
                <a:gd name="connsiteX110" fmla="*/ 164892 w 898525"/>
                <a:gd name="connsiteY110" fmla="*/ 534987 h 1304925"/>
                <a:gd name="connsiteX111" fmla="*/ 149225 w 898525"/>
                <a:gd name="connsiteY111" fmla="*/ 519393 h 1304925"/>
                <a:gd name="connsiteX112" fmla="*/ 149225 w 898525"/>
                <a:gd name="connsiteY112" fmla="*/ 398182 h 1304925"/>
                <a:gd name="connsiteX113" fmla="*/ 164892 w 898525"/>
                <a:gd name="connsiteY113" fmla="*/ 382587 h 1304925"/>
                <a:gd name="connsiteX114" fmla="*/ 311196 w 898525"/>
                <a:gd name="connsiteY114" fmla="*/ 371542 h 1304925"/>
                <a:gd name="connsiteX115" fmla="*/ 333306 w 898525"/>
                <a:gd name="connsiteY115" fmla="*/ 371542 h 1304925"/>
                <a:gd name="connsiteX116" fmla="*/ 333306 w 898525"/>
                <a:gd name="connsiteY116" fmla="*/ 393643 h 1304925"/>
                <a:gd name="connsiteX117" fmla="*/ 302637 w 898525"/>
                <a:gd name="connsiteY117" fmla="*/ 424300 h 1304925"/>
                <a:gd name="connsiteX118" fmla="*/ 271255 w 898525"/>
                <a:gd name="connsiteY118" fmla="*/ 455670 h 1304925"/>
                <a:gd name="connsiteX119" fmla="*/ 247006 w 898525"/>
                <a:gd name="connsiteY119" fmla="*/ 479910 h 1304925"/>
                <a:gd name="connsiteX120" fmla="*/ 236307 w 898525"/>
                <a:gd name="connsiteY120" fmla="*/ 484188 h 1304925"/>
                <a:gd name="connsiteX121" fmla="*/ 224896 w 898525"/>
                <a:gd name="connsiteY121" fmla="*/ 479910 h 1304925"/>
                <a:gd name="connsiteX122" fmla="*/ 197793 w 898525"/>
                <a:gd name="connsiteY122" fmla="*/ 452818 h 1304925"/>
                <a:gd name="connsiteX123" fmla="*/ 197793 w 898525"/>
                <a:gd name="connsiteY123" fmla="*/ 430717 h 1304925"/>
                <a:gd name="connsiteX124" fmla="*/ 219903 w 898525"/>
                <a:gd name="connsiteY124" fmla="*/ 430717 h 1304925"/>
                <a:gd name="connsiteX125" fmla="*/ 236307 w 898525"/>
                <a:gd name="connsiteY125" fmla="*/ 446402 h 1304925"/>
                <a:gd name="connsiteX126" fmla="*/ 269829 w 898525"/>
                <a:gd name="connsiteY126" fmla="*/ 412893 h 1304925"/>
                <a:gd name="connsiteX127" fmla="*/ 297645 w 898525"/>
                <a:gd name="connsiteY127" fmla="*/ 385801 h 1304925"/>
                <a:gd name="connsiteX128" fmla="*/ 311196 w 898525"/>
                <a:gd name="connsiteY128" fmla="*/ 371542 h 1304925"/>
                <a:gd name="connsiteX129" fmla="*/ 15714 w 898525"/>
                <a:gd name="connsiteY129" fmla="*/ 114300 h 1304925"/>
                <a:gd name="connsiteX130" fmla="*/ 272843 w 898525"/>
                <a:gd name="connsiteY130" fmla="*/ 114300 h 1304925"/>
                <a:gd name="connsiteX131" fmla="*/ 272843 w 898525"/>
                <a:gd name="connsiteY131" fmla="*/ 145670 h 1304925"/>
                <a:gd name="connsiteX132" fmla="*/ 31427 w 898525"/>
                <a:gd name="connsiteY132" fmla="*/ 145670 h 1304925"/>
                <a:gd name="connsiteX133" fmla="*/ 31427 w 898525"/>
                <a:gd name="connsiteY133" fmla="*/ 1273555 h 1304925"/>
                <a:gd name="connsiteX134" fmla="*/ 867098 w 898525"/>
                <a:gd name="connsiteY134" fmla="*/ 1273555 h 1304925"/>
                <a:gd name="connsiteX135" fmla="*/ 867098 w 898525"/>
                <a:gd name="connsiteY135" fmla="*/ 145670 h 1304925"/>
                <a:gd name="connsiteX136" fmla="*/ 625682 w 898525"/>
                <a:gd name="connsiteY136" fmla="*/ 145670 h 1304925"/>
                <a:gd name="connsiteX137" fmla="*/ 625682 w 898525"/>
                <a:gd name="connsiteY137" fmla="*/ 114300 h 1304925"/>
                <a:gd name="connsiteX138" fmla="*/ 882812 w 898525"/>
                <a:gd name="connsiteY138" fmla="*/ 114300 h 1304925"/>
                <a:gd name="connsiteX139" fmla="*/ 898525 w 898525"/>
                <a:gd name="connsiteY139" fmla="*/ 129985 h 1304925"/>
                <a:gd name="connsiteX140" fmla="*/ 898525 w 898525"/>
                <a:gd name="connsiteY140" fmla="*/ 1289240 h 1304925"/>
                <a:gd name="connsiteX141" fmla="*/ 882812 w 898525"/>
                <a:gd name="connsiteY141" fmla="*/ 1304925 h 1304925"/>
                <a:gd name="connsiteX142" fmla="*/ 15714 w 898525"/>
                <a:gd name="connsiteY142" fmla="*/ 1304925 h 1304925"/>
                <a:gd name="connsiteX143" fmla="*/ 0 w 898525"/>
                <a:gd name="connsiteY143" fmla="*/ 1289240 h 1304925"/>
                <a:gd name="connsiteX144" fmla="*/ 0 w 898525"/>
                <a:gd name="connsiteY144" fmla="*/ 129985 h 1304925"/>
                <a:gd name="connsiteX145" fmla="*/ 15714 w 898525"/>
                <a:gd name="connsiteY145" fmla="*/ 114300 h 1304925"/>
                <a:gd name="connsiteX146" fmla="*/ 450491 w 898525"/>
                <a:gd name="connsiteY146" fmla="*/ 31750 h 1304925"/>
                <a:gd name="connsiteX147" fmla="*/ 428983 w 898525"/>
                <a:gd name="connsiteY147" fmla="*/ 36027 h 1304925"/>
                <a:gd name="connsiteX148" fmla="*/ 395287 w 898525"/>
                <a:gd name="connsiteY148" fmla="*/ 66675 h 1304925"/>
                <a:gd name="connsiteX149" fmla="*/ 506412 w 898525"/>
                <a:gd name="connsiteY149" fmla="*/ 66675 h 1304925"/>
                <a:gd name="connsiteX150" fmla="*/ 472716 w 898525"/>
                <a:gd name="connsiteY150" fmla="*/ 36027 h 1304925"/>
                <a:gd name="connsiteX151" fmla="*/ 450491 w 898525"/>
                <a:gd name="connsiteY151" fmla="*/ 31750 h 1304925"/>
                <a:gd name="connsiteX152" fmla="*/ 450057 w 898525"/>
                <a:gd name="connsiteY152" fmla="*/ 0 h 1304925"/>
                <a:gd name="connsiteX153" fmla="*/ 523043 w 898525"/>
                <a:gd name="connsiteY153" fmla="*/ 35602 h 1304925"/>
                <a:gd name="connsiteX154" fmla="*/ 539500 w 898525"/>
                <a:gd name="connsiteY154" fmla="*/ 66220 h 1304925"/>
                <a:gd name="connsiteX155" fmla="*/ 588873 w 898525"/>
                <a:gd name="connsiteY155" fmla="*/ 66220 h 1304925"/>
                <a:gd name="connsiteX156" fmla="*/ 595313 w 898525"/>
                <a:gd name="connsiteY156" fmla="*/ 73340 h 1304925"/>
                <a:gd name="connsiteX157" fmla="*/ 595313 w 898525"/>
                <a:gd name="connsiteY157" fmla="*/ 113927 h 1304925"/>
                <a:gd name="connsiteX158" fmla="*/ 595313 w 898525"/>
                <a:gd name="connsiteY158" fmla="*/ 145256 h 1304925"/>
                <a:gd name="connsiteX159" fmla="*/ 595313 w 898525"/>
                <a:gd name="connsiteY159" fmla="*/ 178010 h 1304925"/>
                <a:gd name="connsiteX160" fmla="*/ 580287 w 898525"/>
                <a:gd name="connsiteY160" fmla="*/ 193675 h 1304925"/>
                <a:gd name="connsiteX161" fmla="*/ 320542 w 898525"/>
                <a:gd name="connsiteY161" fmla="*/ 193675 h 1304925"/>
                <a:gd name="connsiteX162" fmla="*/ 304800 w 898525"/>
                <a:gd name="connsiteY162" fmla="*/ 178010 h 1304925"/>
                <a:gd name="connsiteX163" fmla="*/ 304800 w 898525"/>
                <a:gd name="connsiteY163" fmla="*/ 145256 h 1304925"/>
                <a:gd name="connsiteX164" fmla="*/ 304800 w 898525"/>
                <a:gd name="connsiteY164" fmla="*/ 113927 h 1304925"/>
                <a:gd name="connsiteX165" fmla="*/ 304800 w 898525"/>
                <a:gd name="connsiteY165" fmla="*/ 73340 h 1304925"/>
                <a:gd name="connsiteX166" fmla="*/ 311956 w 898525"/>
                <a:gd name="connsiteY166" fmla="*/ 66220 h 1304925"/>
                <a:gd name="connsiteX167" fmla="*/ 361329 w 898525"/>
                <a:gd name="connsiteY167" fmla="*/ 66220 h 1304925"/>
                <a:gd name="connsiteX168" fmla="*/ 377071 w 898525"/>
                <a:gd name="connsiteY168" fmla="*/ 35602 h 1304925"/>
                <a:gd name="connsiteX169" fmla="*/ 450057 w 898525"/>
                <a:gd name="connsiteY169"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898525" h="1304925">
                  <a:moveTo>
                    <a:pt x="445952" y="1044575"/>
                  </a:moveTo>
                  <a:cubicBezTo>
                    <a:pt x="445952" y="1044575"/>
                    <a:pt x="445952" y="1044575"/>
                    <a:pt x="733560" y="1044575"/>
                  </a:cubicBezTo>
                  <a:cubicBezTo>
                    <a:pt x="742146" y="1044575"/>
                    <a:pt x="749300" y="1051791"/>
                    <a:pt x="749300" y="1060450"/>
                  </a:cubicBezTo>
                  <a:cubicBezTo>
                    <a:pt x="749300" y="1069109"/>
                    <a:pt x="742146" y="1076325"/>
                    <a:pt x="733560" y="1076325"/>
                  </a:cubicBezTo>
                  <a:cubicBezTo>
                    <a:pt x="733560" y="1076325"/>
                    <a:pt x="733560" y="1076325"/>
                    <a:pt x="445952" y="1076325"/>
                  </a:cubicBezTo>
                  <a:cubicBezTo>
                    <a:pt x="437367" y="1076325"/>
                    <a:pt x="430212" y="1069109"/>
                    <a:pt x="430212" y="1060450"/>
                  </a:cubicBezTo>
                  <a:cubicBezTo>
                    <a:pt x="430212" y="1051791"/>
                    <a:pt x="437367" y="1044575"/>
                    <a:pt x="445952" y="1044575"/>
                  </a:cubicBezTo>
                  <a:close/>
                  <a:moveTo>
                    <a:pt x="445952" y="958850"/>
                  </a:moveTo>
                  <a:cubicBezTo>
                    <a:pt x="445952" y="958850"/>
                    <a:pt x="445952" y="958850"/>
                    <a:pt x="733560" y="958850"/>
                  </a:cubicBezTo>
                  <a:cubicBezTo>
                    <a:pt x="742146" y="958850"/>
                    <a:pt x="749300" y="966066"/>
                    <a:pt x="749300" y="974725"/>
                  </a:cubicBezTo>
                  <a:cubicBezTo>
                    <a:pt x="749300" y="983384"/>
                    <a:pt x="742146" y="990600"/>
                    <a:pt x="733560" y="990600"/>
                  </a:cubicBezTo>
                  <a:cubicBezTo>
                    <a:pt x="733560" y="990600"/>
                    <a:pt x="733560" y="990600"/>
                    <a:pt x="445952" y="990600"/>
                  </a:cubicBezTo>
                  <a:cubicBezTo>
                    <a:pt x="437367" y="990600"/>
                    <a:pt x="430212" y="983384"/>
                    <a:pt x="430212" y="974725"/>
                  </a:cubicBezTo>
                  <a:cubicBezTo>
                    <a:pt x="430212" y="966066"/>
                    <a:pt x="437367" y="958850"/>
                    <a:pt x="445952" y="958850"/>
                  </a:cubicBezTo>
                  <a:close/>
                  <a:moveTo>
                    <a:pt x="164892" y="941387"/>
                  </a:moveTo>
                  <a:cubicBezTo>
                    <a:pt x="164892" y="941387"/>
                    <a:pt x="164892" y="941387"/>
                    <a:pt x="256759" y="941387"/>
                  </a:cubicBezTo>
                  <a:cubicBezTo>
                    <a:pt x="256759" y="941387"/>
                    <a:pt x="256759" y="941387"/>
                    <a:pt x="225425" y="972722"/>
                  </a:cubicBezTo>
                  <a:cubicBezTo>
                    <a:pt x="225425" y="972722"/>
                    <a:pt x="225425" y="972722"/>
                    <a:pt x="180559" y="972722"/>
                  </a:cubicBezTo>
                  <a:cubicBezTo>
                    <a:pt x="180559" y="972722"/>
                    <a:pt x="180559" y="972722"/>
                    <a:pt x="180559" y="1062453"/>
                  </a:cubicBezTo>
                  <a:cubicBezTo>
                    <a:pt x="180559" y="1062453"/>
                    <a:pt x="180559" y="1062453"/>
                    <a:pt x="270290" y="1062453"/>
                  </a:cubicBezTo>
                  <a:cubicBezTo>
                    <a:pt x="270290" y="1062453"/>
                    <a:pt x="270290" y="1062453"/>
                    <a:pt x="270290" y="1058892"/>
                  </a:cubicBezTo>
                  <a:cubicBezTo>
                    <a:pt x="270290" y="1058892"/>
                    <a:pt x="270290" y="1058892"/>
                    <a:pt x="301625" y="1027557"/>
                  </a:cubicBezTo>
                  <a:cubicBezTo>
                    <a:pt x="301625" y="1027557"/>
                    <a:pt x="301625" y="1027557"/>
                    <a:pt x="301625" y="1078120"/>
                  </a:cubicBezTo>
                  <a:cubicBezTo>
                    <a:pt x="301625" y="1086666"/>
                    <a:pt x="295215" y="1093787"/>
                    <a:pt x="285957" y="1093787"/>
                  </a:cubicBezTo>
                  <a:lnTo>
                    <a:pt x="164892" y="1093787"/>
                  </a:lnTo>
                  <a:cubicBezTo>
                    <a:pt x="156346" y="1093787"/>
                    <a:pt x="149225" y="1086666"/>
                    <a:pt x="149225" y="1078120"/>
                  </a:cubicBezTo>
                  <a:cubicBezTo>
                    <a:pt x="149225" y="1078120"/>
                    <a:pt x="149225" y="1078120"/>
                    <a:pt x="149225" y="957054"/>
                  </a:cubicBezTo>
                  <a:cubicBezTo>
                    <a:pt x="149225" y="948509"/>
                    <a:pt x="156346" y="941387"/>
                    <a:pt x="164892" y="941387"/>
                  </a:cubicBezTo>
                  <a:close/>
                  <a:moveTo>
                    <a:pt x="311196" y="930342"/>
                  </a:moveTo>
                  <a:cubicBezTo>
                    <a:pt x="317615" y="923925"/>
                    <a:pt x="327600" y="923925"/>
                    <a:pt x="333306" y="930342"/>
                  </a:cubicBezTo>
                  <a:cubicBezTo>
                    <a:pt x="339725" y="936045"/>
                    <a:pt x="339725" y="946027"/>
                    <a:pt x="333306" y="952443"/>
                  </a:cubicBezTo>
                  <a:cubicBezTo>
                    <a:pt x="333306" y="952443"/>
                    <a:pt x="333306" y="952443"/>
                    <a:pt x="302637" y="983100"/>
                  </a:cubicBezTo>
                  <a:cubicBezTo>
                    <a:pt x="302637" y="983100"/>
                    <a:pt x="302637" y="983100"/>
                    <a:pt x="271255" y="1014470"/>
                  </a:cubicBezTo>
                  <a:cubicBezTo>
                    <a:pt x="271255" y="1014470"/>
                    <a:pt x="271255" y="1014470"/>
                    <a:pt x="247006" y="1038710"/>
                  </a:cubicBezTo>
                  <a:cubicBezTo>
                    <a:pt x="244153" y="1041562"/>
                    <a:pt x="240587" y="1042988"/>
                    <a:pt x="236307" y="1042988"/>
                  </a:cubicBezTo>
                  <a:cubicBezTo>
                    <a:pt x="232028" y="1042988"/>
                    <a:pt x="228462" y="1041562"/>
                    <a:pt x="224896" y="1038710"/>
                  </a:cubicBezTo>
                  <a:cubicBezTo>
                    <a:pt x="224896" y="1038710"/>
                    <a:pt x="224896" y="1038710"/>
                    <a:pt x="197793" y="1010905"/>
                  </a:cubicBezTo>
                  <a:cubicBezTo>
                    <a:pt x="192087" y="1005202"/>
                    <a:pt x="192087" y="995220"/>
                    <a:pt x="197793" y="988804"/>
                  </a:cubicBezTo>
                  <a:cubicBezTo>
                    <a:pt x="204212" y="983100"/>
                    <a:pt x="214197" y="983100"/>
                    <a:pt x="219903" y="988804"/>
                  </a:cubicBezTo>
                  <a:cubicBezTo>
                    <a:pt x="219903" y="988804"/>
                    <a:pt x="219903" y="988804"/>
                    <a:pt x="236307" y="1005202"/>
                  </a:cubicBezTo>
                  <a:cubicBezTo>
                    <a:pt x="236307" y="1005202"/>
                    <a:pt x="236307" y="1005202"/>
                    <a:pt x="269829" y="971693"/>
                  </a:cubicBezTo>
                  <a:cubicBezTo>
                    <a:pt x="269829" y="971693"/>
                    <a:pt x="269829" y="971693"/>
                    <a:pt x="297645" y="943888"/>
                  </a:cubicBezTo>
                  <a:cubicBezTo>
                    <a:pt x="297645" y="943888"/>
                    <a:pt x="297645" y="943888"/>
                    <a:pt x="311196" y="930342"/>
                  </a:cubicBezTo>
                  <a:close/>
                  <a:moveTo>
                    <a:pt x="445952" y="766762"/>
                  </a:moveTo>
                  <a:cubicBezTo>
                    <a:pt x="445952" y="766762"/>
                    <a:pt x="445952" y="766762"/>
                    <a:pt x="733560" y="766762"/>
                  </a:cubicBezTo>
                  <a:cubicBezTo>
                    <a:pt x="742146" y="766762"/>
                    <a:pt x="749300" y="773978"/>
                    <a:pt x="749300" y="782637"/>
                  </a:cubicBezTo>
                  <a:cubicBezTo>
                    <a:pt x="749300" y="791296"/>
                    <a:pt x="742146" y="798512"/>
                    <a:pt x="733560" y="798512"/>
                  </a:cubicBezTo>
                  <a:cubicBezTo>
                    <a:pt x="733560" y="798512"/>
                    <a:pt x="733560" y="798512"/>
                    <a:pt x="445952" y="798512"/>
                  </a:cubicBezTo>
                  <a:cubicBezTo>
                    <a:pt x="437367" y="798512"/>
                    <a:pt x="430212" y="791296"/>
                    <a:pt x="430212" y="782637"/>
                  </a:cubicBezTo>
                  <a:cubicBezTo>
                    <a:pt x="430212" y="773978"/>
                    <a:pt x="437367" y="766762"/>
                    <a:pt x="445952" y="766762"/>
                  </a:cubicBezTo>
                  <a:close/>
                  <a:moveTo>
                    <a:pt x="445952" y="681037"/>
                  </a:moveTo>
                  <a:cubicBezTo>
                    <a:pt x="445952" y="681037"/>
                    <a:pt x="445952" y="681037"/>
                    <a:pt x="733560" y="681037"/>
                  </a:cubicBezTo>
                  <a:cubicBezTo>
                    <a:pt x="742146" y="681037"/>
                    <a:pt x="749300" y="688253"/>
                    <a:pt x="749300" y="696912"/>
                  </a:cubicBezTo>
                  <a:cubicBezTo>
                    <a:pt x="749300" y="705571"/>
                    <a:pt x="742146" y="712787"/>
                    <a:pt x="733560" y="712787"/>
                  </a:cubicBezTo>
                  <a:cubicBezTo>
                    <a:pt x="733560" y="712787"/>
                    <a:pt x="733560" y="712787"/>
                    <a:pt x="445952" y="712787"/>
                  </a:cubicBezTo>
                  <a:cubicBezTo>
                    <a:pt x="437367" y="712787"/>
                    <a:pt x="430212" y="705571"/>
                    <a:pt x="430212" y="696912"/>
                  </a:cubicBezTo>
                  <a:cubicBezTo>
                    <a:pt x="430212" y="688253"/>
                    <a:pt x="437367" y="681037"/>
                    <a:pt x="445952" y="681037"/>
                  </a:cubicBezTo>
                  <a:close/>
                  <a:moveTo>
                    <a:pt x="164892" y="663575"/>
                  </a:moveTo>
                  <a:cubicBezTo>
                    <a:pt x="164892" y="663575"/>
                    <a:pt x="164892" y="663575"/>
                    <a:pt x="256759" y="663575"/>
                  </a:cubicBezTo>
                  <a:cubicBezTo>
                    <a:pt x="256759" y="663575"/>
                    <a:pt x="256759" y="663575"/>
                    <a:pt x="225425" y="694910"/>
                  </a:cubicBezTo>
                  <a:cubicBezTo>
                    <a:pt x="225425" y="694910"/>
                    <a:pt x="225425" y="694910"/>
                    <a:pt x="180559" y="694910"/>
                  </a:cubicBezTo>
                  <a:cubicBezTo>
                    <a:pt x="180559" y="694910"/>
                    <a:pt x="180559" y="694910"/>
                    <a:pt x="180559" y="784641"/>
                  </a:cubicBezTo>
                  <a:cubicBezTo>
                    <a:pt x="180559" y="784641"/>
                    <a:pt x="180559" y="784641"/>
                    <a:pt x="270290" y="784641"/>
                  </a:cubicBezTo>
                  <a:cubicBezTo>
                    <a:pt x="270290" y="784641"/>
                    <a:pt x="270290" y="784641"/>
                    <a:pt x="270290" y="781080"/>
                  </a:cubicBezTo>
                  <a:cubicBezTo>
                    <a:pt x="270290" y="781080"/>
                    <a:pt x="270290" y="781080"/>
                    <a:pt x="301625" y="749745"/>
                  </a:cubicBezTo>
                  <a:cubicBezTo>
                    <a:pt x="301625" y="749745"/>
                    <a:pt x="301625" y="749745"/>
                    <a:pt x="301625" y="800308"/>
                  </a:cubicBezTo>
                  <a:cubicBezTo>
                    <a:pt x="301625" y="808854"/>
                    <a:pt x="295215" y="815975"/>
                    <a:pt x="285957" y="815975"/>
                  </a:cubicBezTo>
                  <a:cubicBezTo>
                    <a:pt x="285957" y="815975"/>
                    <a:pt x="285957" y="815975"/>
                    <a:pt x="164892" y="815975"/>
                  </a:cubicBezTo>
                  <a:cubicBezTo>
                    <a:pt x="156346" y="815975"/>
                    <a:pt x="149225" y="808854"/>
                    <a:pt x="149225" y="800308"/>
                  </a:cubicBezTo>
                  <a:lnTo>
                    <a:pt x="149225" y="679242"/>
                  </a:lnTo>
                  <a:cubicBezTo>
                    <a:pt x="149225" y="670697"/>
                    <a:pt x="156346" y="663575"/>
                    <a:pt x="164892" y="663575"/>
                  </a:cubicBezTo>
                  <a:close/>
                  <a:moveTo>
                    <a:pt x="311196" y="653404"/>
                  </a:moveTo>
                  <a:cubicBezTo>
                    <a:pt x="317615" y="647700"/>
                    <a:pt x="327600" y="647700"/>
                    <a:pt x="333306" y="653404"/>
                  </a:cubicBezTo>
                  <a:cubicBezTo>
                    <a:pt x="339725" y="659820"/>
                    <a:pt x="339725" y="669802"/>
                    <a:pt x="333306" y="676218"/>
                  </a:cubicBezTo>
                  <a:cubicBezTo>
                    <a:pt x="333306" y="676218"/>
                    <a:pt x="333306" y="676218"/>
                    <a:pt x="302637" y="706875"/>
                  </a:cubicBezTo>
                  <a:cubicBezTo>
                    <a:pt x="302637" y="706875"/>
                    <a:pt x="302637" y="706875"/>
                    <a:pt x="271255" y="738245"/>
                  </a:cubicBezTo>
                  <a:cubicBezTo>
                    <a:pt x="271255" y="738245"/>
                    <a:pt x="271255" y="738245"/>
                    <a:pt x="247006" y="761772"/>
                  </a:cubicBezTo>
                  <a:cubicBezTo>
                    <a:pt x="244153" y="765337"/>
                    <a:pt x="240587" y="766763"/>
                    <a:pt x="236307" y="766763"/>
                  </a:cubicBezTo>
                  <a:cubicBezTo>
                    <a:pt x="232028" y="766763"/>
                    <a:pt x="228462" y="765337"/>
                    <a:pt x="224896" y="761772"/>
                  </a:cubicBezTo>
                  <a:cubicBezTo>
                    <a:pt x="224896" y="761772"/>
                    <a:pt x="224896" y="761772"/>
                    <a:pt x="197793" y="734680"/>
                  </a:cubicBezTo>
                  <a:cubicBezTo>
                    <a:pt x="192087" y="728977"/>
                    <a:pt x="192087" y="718995"/>
                    <a:pt x="197793" y="712579"/>
                  </a:cubicBezTo>
                  <a:cubicBezTo>
                    <a:pt x="204212" y="706875"/>
                    <a:pt x="214197" y="706875"/>
                    <a:pt x="219903" y="712579"/>
                  </a:cubicBezTo>
                  <a:cubicBezTo>
                    <a:pt x="219903" y="712579"/>
                    <a:pt x="219903" y="712579"/>
                    <a:pt x="236307" y="728977"/>
                  </a:cubicBezTo>
                  <a:cubicBezTo>
                    <a:pt x="236307" y="728977"/>
                    <a:pt x="236307" y="728977"/>
                    <a:pt x="269829" y="695468"/>
                  </a:cubicBezTo>
                  <a:cubicBezTo>
                    <a:pt x="269829" y="695468"/>
                    <a:pt x="269829" y="695468"/>
                    <a:pt x="297645" y="667663"/>
                  </a:cubicBezTo>
                  <a:cubicBezTo>
                    <a:pt x="297645" y="667663"/>
                    <a:pt x="297645" y="667663"/>
                    <a:pt x="311196" y="653404"/>
                  </a:cubicBezTo>
                  <a:close/>
                  <a:moveTo>
                    <a:pt x="445952" y="485775"/>
                  </a:moveTo>
                  <a:cubicBezTo>
                    <a:pt x="445952" y="485775"/>
                    <a:pt x="445952" y="485775"/>
                    <a:pt x="733560" y="485775"/>
                  </a:cubicBezTo>
                  <a:cubicBezTo>
                    <a:pt x="742146" y="485775"/>
                    <a:pt x="749300" y="492991"/>
                    <a:pt x="749300" y="501650"/>
                  </a:cubicBezTo>
                  <a:cubicBezTo>
                    <a:pt x="749300" y="511031"/>
                    <a:pt x="742146" y="517525"/>
                    <a:pt x="733560" y="517525"/>
                  </a:cubicBezTo>
                  <a:cubicBezTo>
                    <a:pt x="733560" y="517525"/>
                    <a:pt x="733560" y="517525"/>
                    <a:pt x="445952" y="517525"/>
                  </a:cubicBezTo>
                  <a:cubicBezTo>
                    <a:pt x="437367" y="517525"/>
                    <a:pt x="430212" y="511031"/>
                    <a:pt x="430212" y="501650"/>
                  </a:cubicBezTo>
                  <a:cubicBezTo>
                    <a:pt x="430212" y="492991"/>
                    <a:pt x="437367" y="485775"/>
                    <a:pt x="445952" y="485775"/>
                  </a:cubicBezTo>
                  <a:close/>
                  <a:moveTo>
                    <a:pt x="445952" y="400050"/>
                  </a:moveTo>
                  <a:cubicBezTo>
                    <a:pt x="445952" y="400050"/>
                    <a:pt x="445952" y="400050"/>
                    <a:pt x="733560" y="400050"/>
                  </a:cubicBezTo>
                  <a:cubicBezTo>
                    <a:pt x="742146" y="400050"/>
                    <a:pt x="749300" y="406544"/>
                    <a:pt x="749300" y="415925"/>
                  </a:cubicBezTo>
                  <a:cubicBezTo>
                    <a:pt x="749300" y="424584"/>
                    <a:pt x="742146" y="431800"/>
                    <a:pt x="733560" y="431800"/>
                  </a:cubicBezTo>
                  <a:cubicBezTo>
                    <a:pt x="733560" y="431800"/>
                    <a:pt x="733560" y="431800"/>
                    <a:pt x="445952" y="431800"/>
                  </a:cubicBezTo>
                  <a:cubicBezTo>
                    <a:pt x="437367" y="431800"/>
                    <a:pt x="430212" y="424584"/>
                    <a:pt x="430212" y="415925"/>
                  </a:cubicBezTo>
                  <a:cubicBezTo>
                    <a:pt x="430212" y="406544"/>
                    <a:pt x="437367" y="400050"/>
                    <a:pt x="445952" y="400050"/>
                  </a:cubicBezTo>
                  <a:close/>
                  <a:moveTo>
                    <a:pt x="164892" y="382587"/>
                  </a:moveTo>
                  <a:cubicBezTo>
                    <a:pt x="164892" y="382587"/>
                    <a:pt x="164892" y="382587"/>
                    <a:pt x="256759" y="382587"/>
                  </a:cubicBezTo>
                  <a:cubicBezTo>
                    <a:pt x="256759" y="382587"/>
                    <a:pt x="256759" y="382587"/>
                    <a:pt x="225425" y="413776"/>
                  </a:cubicBezTo>
                  <a:lnTo>
                    <a:pt x="180559" y="413776"/>
                  </a:lnTo>
                  <a:cubicBezTo>
                    <a:pt x="180559" y="413776"/>
                    <a:pt x="180559" y="413776"/>
                    <a:pt x="180559" y="503798"/>
                  </a:cubicBezTo>
                  <a:cubicBezTo>
                    <a:pt x="180559" y="503798"/>
                    <a:pt x="180559" y="503798"/>
                    <a:pt x="270290" y="503798"/>
                  </a:cubicBezTo>
                  <a:cubicBezTo>
                    <a:pt x="270290" y="503798"/>
                    <a:pt x="270290" y="503798"/>
                    <a:pt x="270290" y="499545"/>
                  </a:cubicBezTo>
                  <a:cubicBezTo>
                    <a:pt x="270290" y="499545"/>
                    <a:pt x="270290" y="499545"/>
                    <a:pt x="301625" y="468356"/>
                  </a:cubicBezTo>
                  <a:cubicBezTo>
                    <a:pt x="301625" y="468356"/>
                    <a:pt x="301625" y="468356"/>
                    <a:pt x="301625" y="519393"/>
                  </a:cubicBezTo>
                  <a:cubicBezTo>
                    <a:pt x="301625" y="527899"/>
                    <a:pt x="295215" y="534987"/>
                    <a:pt x="285957" y="534987"/>
                  </a:cubicBezTo>
                  <a:cubicBezTo>
                    <a:pt x="285957" y="534987"/>
                    <a:pt x="285957" y="534987"/>
                    <a:pt x="164892" y="534987"/>
                  </a:cubicBezTo>
                  <a:cubicBezTo>
                    <a:pt x="156346" y="534987"/>
                    <a:pt x="149225" y="527899"/>
                    <a:pt x="149225" y="519393"/>
                  </a:cubicBezTo>
                  <a:cubicBezTo>
                    <a:pt x="149225" y="519393"/>
                    <a:pt x="149225" y="519393"/>
                    <a:pt x="149225" y="398182"/>
                  </a:cubicBezTo>
                  <a:cubicBezTo>
                    <a:pt x="149225" y="389675"/>
                    <a:pt x="156346" y="382587"/>
                    <a:pt x="164892" y="382587"/>
                  </a:cubicBezTo>
                  <a:close/>
                  <a:moveTo>
                    <a:pt x="311196" y="371542"/>
                  </a:moveTo>
                  <a:cubicBezTo>
                    <a:pt x="317615" y="365125"/>
                    <a:pt x="327600" y="365125"/>
                    <a:pt x="333306" y="371542"/>
                  </a:cubicBezTo>
                  <a:cubicBezTo>
                    <a:pt x="339725" y="377958"/>
                    <a:pt x="339725" y="387227"/>
                    <a:pt x="333306" y="393643"/>
                  </a:cubicBezTo>
                  <a:cubicBezTo>
                    <a:pt x="333306" y="393643"/>
                    <a:pt x="333306" y="393643"/>
                    <a:pt x="302637" y="424300"/>
                  </a:cubicBezTo>
                  <a:cubicBezTo>
                    <a:pt x="302637" y="424300"/>
                    <a:pt x="302637" y="424300"/>
                    <a:pt x="271255" y="455670"/>
                  </a:cubicBezTo>
                  <a:cubicBezTo>
                    <a:pt x="271255" y="455670"/>
                    <a:pt x="271255" y="455670"/>
                    <a:pt x="247006" y="479910"/>
                  </a:cubicBezTo>
                  <a:cubicBezTo>
                    <a:pt x="244153" y="482762"/>
                    <a:pt x="240587" y="484188"/>
                    <a:pt x="236307" y="484188"/>
                  </a:cubicBezTo>
                  <a:cubicBezTo>
                    <a:pt x="232028" y="484188"/>
                    <a:pt x="228462" y="482762"/>
                    <a:pt x="224896" y="479910"/>
                  </a:cubicBezTo>
                  <a:cubicBezTo>
                    <a:pt x="224896" y="479910"/>
                    <a:pt x="224896" y="479910"/>
                    <a:pt x="197793" y="452818"/>
                  </a:cubicBezTo>
                  <a:cubicBezTo>
                    <a:pt x="192087" y="446402"/>
                    <a:pt x="192087" y="436420"/>
                    <a:pt x="197793" y="430717"/>
                  </a:cubicBezTo>
                  <a:cubicBezTo>
                    <a:pt x="204212" y="424300"/>
                    <a:pt x="214197" y="424300"/>
                    <a:pt x="219903" y="430717"/>
                  </a:cubicBezTo>
                  <a:cubicBezTo>
                    <a:pt x="219903" y="430717"/>
                    <a:pt x="219903" y="430717"/>
                    <a:pt x="236307" y="446402"/>
                  </a:cubicBezTo>
                  <a:cubicBezTo>
                    <a:pt x="236307" y="446402"/>
                    <a:pt x="236307" y="446402"/>
                    <a:pt x="269829" y="412893"/>
                  </a:cubicBezTo>
                  <a:cubicBezTo>
                    <a:pt x="269829" y="412893"/>
                    <a:pt x="269829" y="412893"/>
                    <a:pt x="297645" y="385801"/>
                  </a:cubicBezTo>
                  <a:cubicBezTo>
                    <a:pt x="297645" y="385801"/>
                    <a:pt x="297645" y="385801"/>
                    <a:pt x="311196" y="371542"/>
                  </a:cubicBezTo>
                  <a:close/>
                  <a:moveTo>
                    <a:pt x="15714" y="114300"/>
                  </a:moveTo>
                  <a:cubicBezTo>
                    <a:pt x="15714" y="114300"/>
                    <a:pt x="15714" y="114300"/>
                    <a:pt x="272843" y="114300"/>
                  </a:cubicBezTo>
                  <a:cubicBezTo>
                    <a:pt x="272843" y="114300"/>
                    <a:pt x="272843" y="114300"/>
                    <a:pt x="272843" y="145670"/>
                  </a:cubicBezTo>
                  <a:cubicBezTo>
                    <a:pt x="272843" y="145670"/>
                    <a:pt x="272843" y="145670"/>
                    <a:pt x="31427" y="145670"/>
                  </a:cubicBezTo>
                  <a:cubicBezTo>
                    <a:pt x="31427" y="145670"/>
                    <a:pt x="31427" y="145670"/>
                    <a:pt x="31427" y="1273555"/>
                  </a:cubicBezTo>
                  <a:cubicBezTo>
                    <a:pt x="31427" y="1273555"/>
                    <a:pt x="31427" y="1273555"/>
                    <a:pt x="867098" y="1273555"/>
                  </a:cubicBezTo>
                  <a:cubicBezTo>
                    <a:pt x="867098" y="1273555"/>
                    <a:pt x="867098" y="1273555"/>
                    <a:pt x="867098" y="145670"/>
                  </a:cubicBezTo>
                  <a:cubicBezTo>
                    <a:pt x="867098" y="145670"/>
                    <a:pt x="867098" y="145670"/>
                    <a:pt x="625682" y="145670"/>
                  </a:cubicBezTo>
                  <a:cubicBezTo>
                    <a:pt x="625682" y="145670"/>
                    <a:pt x="625682" y="145670"/>
                    <a:pt x="625682" y="114300"/>
                  </a:cubicBezTo>
                  <a:cubicBezTo>
                    <a:pt x="625682" y="114300"/>
                    <a:pt x="625682" y="114300"/>
                    <a:pt x="882812" y="114300"/>
                  </a:cubicBezTo>
                  <a:cubicBezTo>
                    <a:pt x="892097" y="114300"/>
                    <a:pt x="898525" y="121430"/>
                    <a:pt x="898525" y="129985"/>
                  </a:cubicBezTo>
                  <a:cubicBezTo>
                    <a:pt x="898525" y="129985"/>
                    <a:pt x="898525" y="129985"/>
                    <a:pt x="898525" y="1289240"/>
                  </a:cubicBezTo>
                  <a:cubicBezTo>
                    <a:pt x="898525" y="1298509"/>
                    <a:pt x="892097" y="1304925"/>
                    <a:pt x="882812" y="1304925"/>
                  </a:cubicBezTo>
                  <a:cubicBezTo>
                    <a:pt x="882812" y="1304925"/>
                    <a:pt x="882812" y="1304925"/>
                    <a:pt x="15714" y="1304925"/>
                  </a:cubicBezTo>
                  <a:cubicBezTo>
                    <a:pt x="6428" y="1304925"/>
                    <a:pt x="0" y="1298509"/>
                    <a:pt x="0" y="1289240"/>
                  </a:cubicBezTo>
                  <a:cubicBezTo>
                    <a:pt x="0" y="1289240"/>
                    <a:pt x="0" y="1289240"/>
                    <a:pt x="0" y="129985"/>
                  </a:cubicBezTo>
                  <a:cubicBezTo>
                    <a:pt x="0" y="121430"/>
                    <a:pt x="6428" y="114300"/>
                    <a:pt x="15714" y="114300"/>
                  </a:cubicBezTo>
                  <a:close/>
                  <a:moveTo>
                    <a:pt x="450491" y="31750"/>
                  </a:moveTo>
                  <a:cubicBezTo>
                    <a:pt x="443322" y="31750"/>
                    <a:pt x="435436" y="33176"/>
                    <a:pt x="428983" y="36027"/>
                  </a:cubicBezTo>
                  <a:cubicBezTo>
                    <a:pt x="413928" y="41016"/>
                    <a:pt x="401740" y="52420"/>
                    <a:pt x="395287" y="66675"/>
                  </a:cubicBezTo>
                  <a:cubicBezTo>
                    <a:pt x="395287" y="66675"/>
                    <a:pt x="395287" y="66675"/>
                    <a:pt x="506412" y="66675"/>
                  </a:cubicBezTo>
                  <a:cubicBezTo>
                    <a:pt x="499243" y="52420"/>
                    <a:pt x="487055" y="41016"/>
                    <a:pt x="472716" y="36027"/>
                  </a:cubicBezTo>
                  <a:cubicBezTo>
                    <a:pt x="465547" y="33176"/>
                    <a:pt x="458378" y="31750"/>
                    <a:pt x="450491" y="31750"/>
                  </a:cubicBezTo>
                  <a:close/>
                  <a:moveTo>
                    <a:pt x="450057" y="0"/>
                  </a:moveTo>
                  <a:cubicBezTo>
                    <a:pt x="480110" y="0"/>
                    <a:pt x="505870" y="13529"/>
                    <a:pt x="523043" y="35602"/>
                  </a:cubicBezTo>
                  <a:cubicBezTo>
                    <a:pt x="530198" y="44147"/>
                    <a:pt x="535923" y="54827"/>
                    <a:pt x="539500" y="66220"/>
                  </a:cubicBezTo>
                  <a:cubicBezTo>
                    <a:pt x="539500" y="66220"/>
                    <a:pt x="539500" y="66220"/>
                    <a:pt x="588873" y="66220"/>
                  </a:cubicBezTo>
                  <a:cubicBezTo>
                    <a:pt x="592451" y="66220"/>
                    <a:pt x="595313" y="69068"/>
                    <a:pt x="595313" y="73340"/>
                  </a:cubicBezTo>
                  <a:cubicBezTo>
                    <a:pt x="595313" y="73340"/>
                    <a:pt x="595313" y="73340"/>
                    <a:pt x="595313" y="113927"/>
                  </a:cubicBezTo>
                  <a:cubicBezTo>
                    <a:pt x="595313" y="113927"/>
                    <a:pt x="595313" y="113927"/>
                    <a:pt x="595313" y="145256"/>
                  </a:cubicBezTo>
                  <a:cubicBezTo>
                    <a:pt x="595313" y="145256"/>
                    <a:pt x="595313" y="145256"/>
                    <a:pt x="595313" y="178010"/>
                  </a:cubicBezTo>
                  <a:cubicBezTo>
                    <a:pt x="595313" y="186555"/>
                    <a:pt x="588873" y="193675"/>
                    <a:pt x="580287" y="193675"/>
                  </a:cubicBezTo>
                  <a:lnTo>
                    <a:pt x="320542" y="193675"/>
                  </a:lnTo>
                  <a:cubicBezTo>
                    <a:pt x="311956" y="193675"/>
                    <a:pt x="304800" y="186555"/>
                    <a:pt x="304800" y="178010"/>
                  </a:cubicBezTo>
                  <a:cubicBezTo>
                    <a:pt x="304800" y="178010"/>
                    <a:pt x="304800" y="178010"/>
                    <a:pt x="304800" y="145256"/>
                  </a:cubicBezTo>
                  <a:cubicBezTo>
                    <a:pt x="304800" y="145256"/>
                    <a:pt x="304800" y="145256"/>
                    <a:pt x="304800" y="113927"/>
                  </a:cubicBezTo>
                  <a:cubicBezTo>
                    <a:pt x="304800" y="113927"/>
                    <a:pt x="304800" y="113927"/>
                    <a:pt x="304800" y="73340"/>
                  </a:cubicBezTo>
                  <a:cubicBezTo>
                    <a:pt x="304800" y="69068"/>
                    <a:pt x="308378" y="66220"/>
                    <a:pt x="311956" y="66220"/>
                  </a:cubicBezTo>
                  <a:cubicBezTo>
                    <a:pt x="311956" y="66220"/>
                    <a:pt x="311956" y="66220"/>
                    <a:pt x="361329" y="66220"/>
                  </a:cubicBezTo>
                  <a:cubicBezTo>
                    <a:pt x="364906" y="54827"/>
                    <a:pt x="369915" y="44147"/>
                    <a:pt x="377071" y="35602"/>
                  </a:cubicBezTo>
                  <a:cubicBezTo>
                    <a:pt x="394244" y="13529"/>
                    <a:pt x="420719" y="0"/>
                    <a:pt x="45005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53" name="Group 52">
            <a:extLst>
              <a:ext uri="{FF2B5EF4-FFF2-40B4-BE49-F238E27FC236}">
                <a16:creationId xmlns:a16="http://schemas.microsoft.com/office/drawing/2014/main" id="{CDE9B81B-A45A-4A50-B203-FFB58929E044}"/>
              </a:ext>
            </a:extLst>
          </p:cNvPr>
          <p:cNvGrpSpPr>
            <a:grpSpLocks noChangeAspect="1"/>
          </p:cNvGrpSpPr>
          <p:nvPr/>
        </p:nvGrpSpPr>
        <p:grpSpPr>
          <a:xfrm>
            <a:off x="9212375" y="1949304"/>
            <a:ext cx="1124403" cy="1123318"/>
            <a:chOff x="5273675" y="2606675"/>
            <a:chExt cx="1646238" cy="1644650"/>
          </a:xfrm>
        </p:grpSpPr>
        <p:sp>
          <p:nvSpPr>
            <p:cNvPr id="54" name="AutoShape 3">
              <a:extLst>
                <a:ext uri="{FF2B5EF4-FFF2-40B4-BE49-F238E27FC236}">
                  <a16:creationId xmlns:a16="http://schemas.microsoft.com/office/drawing/2014/main" id="{50EBE7B9-2847-4913-B6C3-0FE223A3A2C2}"/>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31">
              <a:extLst>
                <a:ext uri="{FF2B5EF4-FFF2-40B4-BE49-F238E27FC236}">
                  <a16:creationId xmlns:a16="http://schemas.microsoft.com/office/drawing/2014/main" id="{E3D925BA-2BFF-4C49-A297-A9A48CD5A752}"/>
                </a:ext>
              </a:extLst>
            </p:cNvPr>
            <p:cNvSpPr>
              <a:spLocks/>
            </p:cNvSpPr>
            <p:nvPr/>
          </p:nvSpPr>
          <p:spPr bwMode="auto">
            <a:xfrm>
              <a:off x="5343137" y="2865438"/>
              <a:ext cx="1505727" cy="1214437"/>
            </a:xfrm>
            <a:custGeom>
              <a:avLst/>
              <a:gdLst>
                <a:gd name="connsiteX0" fmla="*/ 350794 w 1505727"/>
                <a:gd name="connsiteY0" fmla="*/ 1090612 h 1214437"/>
                <a:gd name="connsiteX1" fmla="*/ 1154933 w 1505727"/>
                <a:gd name="connsiteY1" fmla="*/ 1090612 h 1214437"/>
                <a:gd name="connsiteX2" fmla="*/ 1169944 w 1505727"/>
                <a:gd name="connsiteY2" fmla="*/ 1105557 h 1214437"/>
                <a:gd name="connsiteX3" fmla="*/ 1169944 w 1505727"/>
                <a:gd name="connsiteY3" fmla="*/ 1126194 h 1214437"/>
                <a:gd name="connsiteX4" fmla="*/ 1214976 w 1505727"/>
                <a:gd name="connsiteY4" fmla="*/ 1126194 h 1214437"/>
                <a:gd name="connsiteX5" fmla="*/ 1230701 w 1505727"/>
                <a:gd name="connsiteY5" fmla="*/ 1141850 h 1214437"/>
                <a:gd name="connsiteX6" fmla="*/ 1230701 w 1505727"/>
                <a:gd name="connsiteY6" fmla="*/ 1199493 h 1214437"/>
                <a:gd name="connsiteX7" fmla="*/ 1214976 w 1505727"/>
                <a:gd name="connsiteY7" fmla="*/ 1214437 h 1214437"/>
                <a:gd name="connsiteX8" fmla="*/ 290751 w 1505727"/>
                <a:gd name="connsiteY8" fmla="*/ 1214437 h 1214437"/>
                <a:gd name="connsiteX9" fmla="*/ 275026 w 1505727"/>
                <a:gd name="connsiteY9" fmla="*/ 1199493 h 1214437"/>
                <a:gd name="connsiteX10" fmla="*/ 275026 w 1505727"/>
                <a:gd name="connsiteY10" fmla="*/ 1141850 h 1214437"/>
                <a:gd name="connsiteX11" fmla="*/ 290751 w 1505727"/>
                <a:gd name="connsiteY11" fmla="*/ 1126194 h 1214437"/>
                <a:gd name="connsiteX12" fmla="*/ 335783 w 1505727"/>
                <a:gd name="connsiteY12" fmla="*/ 1126194 h 1214437"/>
                <a:gd name="connsiteX13" fmla="*/ 335783 w 1505727"/>
                <a:gd name="connsiteY13" fmla="*/ 1105557 h 1214437"/>
                <a:gd name="connsiteX14" fmla="*/ 350794 w 1505727"/>
                <a:gd name="connsiteY14" fmla="*/ 1090612 h 1214437"/>
                <a:gd name="connsiteX15" fmla="*/ 674282 w 1505727"/>
                <a:gd name="connsiteY15" fmla="*/ 736600 h 1214437"/>
                <a:gd name="connsiteX16" fmla="*/ 831444 w 1505727"/>
                <a:gd name="connsiteY16" fmla="*/ 736600 h 1214437"/>
                <a:gd name="connsiteX17" fmla="*/ 838588 w 1505727"/>
                <a:gd name="connsiteY17" fmla="*/ 743723 h 1214437"/>
                <a:gd name="connsiteX18" fmla="*/ 838588 w 1505727"/>
                <a:gd name="connsiteY18" fmla="*/ 1048566 h 1214437"/>
                <a:gd name="connsiteX19" fmla="*/ 831444 w 1505727"/>
                <a:gd name="connsiteY19" fmla="*/ 1055688 h 1214437"/>
                <a:gd name="connsiteX20" fmla="*/ 674282 w 1505727"/>
                <a:gd name="connsiteY20" fmla="*/ 1055688 h 1214437"/>
                <a:gd name="connsiteX21" fmla="*/ 667138 w 1505727"/>
                <a:gd name="connsiteY21" fmla="*/ 1048566 h 1214437"/>
                <a:gd name="connsiteX22" fmla="*/ 667138 w 1505727"/>
                <a:gd name="connsiteY22" fmla="*/ 743723 h 1214437"/>
                <a:gd name="connsiteX23" fmla="*/ 674282 w 1505727"/>
                <a:gd name="connsiteY23" fmla="*/ 736600 h 1214437"/>
                <a:gd name="connsiteX24" fmla="*/ 1306142 w 1505727"/>
                <a:gd name="connsiteY24" fmla="*/ 730250 h 1214437"/>
                <a:gd name="connsiteX25" fmla="*/ 1374335 w 1505727"/>
                <a:gd name="connsiteY25" fmla="*/ 730250 h 1214437"/>
                <a:gd name="connsiteX26" fmla="*/ 1381513 w 1505727"/>
                <a:gd name="connsiteY26" fmla="*/ 737428 h 1214437"/>
                <a:gd name="connsiteX27" fmla="*/ 1381513 w 1505727"/>
                <a:gd name="connsiteY27" fmla="*/ 805622 h 1214437"/>
                <a:gd name="connsiteX28" fmla="*/ 1374335 w 1505727"/>
                <a:gd name="connsiteY28" fmla="*/ 812800 h 1214437"/>
                <a:gd name="connsiteX29" fmla="*/ 1306142 w 1505727"/>
                <a:gd name="connsiteY29" fmla="*/ 812800 h 1214437"/>
                <a:gd name="connsiteX30" fmla="*/ 1298963 w 1505727"/>
                <a:gd name="connsiteY30" fmla="*/ 805622 h 1214437"/>
                <a:gd name="connsiteX31" fmla="*/ 1298963 w 1505727"/>
                <a:gd name="connsiteY31" fmla="*/ 737428 h 1214437"/>
                <a:gd name="connsiteX32" fmla="*/ 1306142 w 1505727"/>
                <a:gd name="connsiteY32" fmla="*/ 730250 h 1214437"/>
                <a:gd name="connsiteX33" fmla="*/ 1188529 w 1505727"/>
                <a:gd name="connsiteY33" fmla="*/ 730250 h 1214437"/>
                <a:gd name="connsiteX34" fmla="*/ 1255411 w 1505727"/>
                <a:gd name="connsiteY34" fmla="*/ 730250 h 1214437"/>
                <a:gd name="connsiteX35" fmla="*/ 1262451 w 1505727"/>
                <a:gd name="connsiteY35" fmla="*/ 737428 h 1214437"/>
                <a:gd name="connsiteX36" fmla="*/ 1262451 w 1505727"/>
                <a:gd name="connsiteY36" fmla="*/ 805622 h 1214437"/>
                <a:gd name="connsiteX37" fmla="*/ 1255411 w 1505727"/>
                <a:gd name="connsiteY37" fmla="*/ 812800 h 1214437"/>
                <a:gd name="connsiteX38" fmla="*/ 1188529 w 1505727"/>
                <a:gd name="connsiteY38" fmla="*/ 812800 h 1214437"/>
                <a:gd name="connsiteX39" fmla="*/ 1181488 w 1505727"/>
                <a:gd name="connsiteY39" fmla="*/ 805622 h 1214437"/>
                <a:gd name="connsiteX40" fmla="*/ 1181488 w 1505727"/>
                <a:gd name="connsiteY40" fmla="*/ 737428 h 1214437"/>
                <a:gd name="connsiteX41" fmla="*/ 1188529 w 1505727"/>
                <a:gd name="connsiteY41" fmla="*/ 730250 h 1214437"/>
                <a:gd name="connsiteX42" fmla="*/ 248866 w 1505727"/>
                <a:gd name="connsiteY42" fmla="*/ 730250 h 1214437"/>
                <a:gd name="connsiteX43" fmla="*/ 317059 w 1505727"/>
                <a:gd name="connsiteY43" fmla="*/ 730250 h 1214437"/>
                <a:gd name="connsiteX44" fmla="*/ 324238 w 1505727"/>
                <a:gd name="connsiteY44" fmla="*/ 737428 h 1214437"/>
                <a:gd name="connsiteX45" fmla="*/ 324238 w 1505727"/>
                <a:gd name="connsiteY45" fmla="*/ 805622 h 1214437"/>
                <a:gd name="connsiteX46" fmla="*/ 317059 w 1505727"/>
                <a:gd name="connsiteY46" fmla="*/ 812800 h 1214437"/>
                <a:gd name="connsiteX47" fmla="*/ 248866 w 1505727"/>
                <a:gd name="connsiteY47" fmla="*/ 812800 h 1214437"/>
                <a:gd name="connsiteX48" fmla="*/ 241688 w 1505727"/>
                <a:gd name="connsiteY48" fmla="*/ 805622 h 1214437"/>
                <a:gd name="connsiteX49" fmla="*/ 241688 w 1505727"/>
                <a:gd name="connsiteY49" fmla="*/ 737428 h 1214437"/>
                <a:gd name="connsiteX50" fmla="*/ 248866 w 1505727"/>
                <a:gd name="connsiteY50" fmla="*/ 730250 h 1214437"/>
                <a:gd name="connsiteX51" fmla="*/ 131253 w 1505727"/>
                <a:gd name="connsiteY51" fmla="*/ 730250 h 1214437"/>
                <a:gd name="connsiteX52" fmla="*/ 198135 w 1505727"/>
                <a:gd name="connsiteY52" fmla="*/ 730250 h 1214437"/>
                <a:gd name="connsiteX53" fmla="*/ 205176 w 1505727"/>
                <a:gd name="connsiteY53" fmla="*/ 737428 h 1214437"/>
                <a:gd name="connsiteX54" fmla="*/ 205176 w 1505727"/>
                <a:gd name="connsiteY54" fmla="*/ 805622 h 1214437"/>
                <a:gd name="connsiteX55" fmla="*/ 198135 w 1505727"/>
                <a:gd name="connsiteY55" fmla="*/ 812800 h 1214437"/>
                <a:gd name="connsiteX56" fmla="*/ 131253 w 1505727"/>
                <a:gd name="connsiteY56" fmla="*/ 812800 h 1214437"/>
                <a:gd name="connsiteX57" fmla="*/ 124213 w 1505727"/>
                <a:gd name="connsiteY57" fmla="*/ 805622 h 1214437"/>
                <a:gd name="connsiteX58" fmla="*/ 124213 w 1505727"/>
                <a:gd name="connsiteY58" fmla="*/ 737428 h 1214437"/>
                <a:gd name="connsiteX59" fmla="*/ 131253 w 1505727"/>
                <a:gd name="connsiteY59" fmla="*/ 730250 h 1214437"/>
                <a:gd name="connsiteX60" fmla="*/ 983051 w 1505727"/>
                <a:gd name="connsiteY60" fmla="*/ 638175 h 1214437"/>
                <a:gd name="connsiteX61" fmla="*/ 1049726 w 1505727"/>
                <a:gd name="connsiteY61" fmla="*/ 703683 h 1214437"/>
                <a:gd name="connsiteX62" fmla="*/ 1049726 w 1505727"/>
                <a:gd name="connsiteY62" fmla="*/ 928688 h 1214437"/>
                <a:gd name="connsiteX63" fmla="*/ 916376 w 1505727"/>
                <a:gd name="connsiteY63" fmla="*/ 928688 h 1214437"/>
                <a:gd name="connsiteX64" fmla="*/ 916376 w 1505727"/>
                <a:gd name="connsiteY64" fmla="*/ 703683 h 1214437"/>
                <a:gd name="connsiteX65" fmla="*/ 983051 w 1505727"/>
                <a:gd name="connsiteY65" fmla="*/ 638175 h 1214437"/>
                <a:gd name="connsiteX66" fmla="*/ 522676 w 1505727"/>
                <a:gd name="connsiteY66" fmla="*/ 638175 h 1214437"/>
                <a:gd name="connsiteX67" fmla="*/ 589351 w 1505727"/>
                <a:gd name="connsiteY67" fmla="*/ 703683 h 1214437"/>
                <a:gd name="connsiteX68" fmla="*/ 589351 w 1505727"/>
                <a:gd name="connsiteY68" fmla="*/ 928688 h 1214437"/>
                <a:gd name="connsiteX69" fmla="*/ 456001 w 1505727"/>
                <a:gd name="connsiteY69" fmla="*/ 928688 h 1214437"/>
                <a:gd name="connsiteX70" fmla="*/ 456001 w 1505727"/>
                <a:gd name="connsiteY70" fmla="*/ 703683 h 1214437"/>
                <a:gd name="connsiteX71" fmla="*/ 522676 w 1505727"/>
                <a:gd name="connsiteY71" fmla="*/ 638175 h 1214437"/>
                <a:gd name="connsiteX72" fmla="*/ 1306142 w 1505727"/>
                <a:gd name="connsiteY72" fmla="*/ 614362 h 1214437"/>
                <a:gd name="connsiteX73" fmla="*/ 1374335 w 1505727"/>
                <a:gd name="connsiteY73" fmla="*/ 614362 h 1214437"/>
                <a:gd name="connsiteX74" fmla="*/ 1381513 w 1505727"/>
                <a:gd name="connsiteY74" fmla="*/ 621540 h 1214437"/>
                <a:gd name="connsiteX75" fmla="*/ 1381513 w 1505727"/>
                <a:gd name="connsiteY75" fmla="*/ 689734 h 1214437"/>
                <a:gd name="connsiteX76" fmla="*/ 1374335 w 1505727"/>
                <a:gd name="connsiteY76" fmla="*/ 696912 h 1214437"/>
                <a:gd name="connsiteX77" fmla="*/ 1306142 w 1505727"/>
                <a:gd name="connsiteY77" fmla="*/ 696912 h 1214437"/>
                <a:gd name="connsiteX78" fmla="*/ 1298963 w 1505727"/>
                <a:gd name="connsiteY78" fmla="*/ 689734 h 1214437"/>
                <a:gd name="connsiteX79" fmla="*/ 1298963 w 1505727"/>
                <a:gd name="connsiteY79" fmla="*/ 621540 h 1214437"/>
                <a:gd name="connsiteX80" fmla="*/ 1306142 w 1505727"/>
                <a:gd name="connsiteY80" fmla="*/ 614362 h 1214437"/>
                <a:gd name="connsiteX81" fmla="*/ 1188529 w 1505727"/>
                <a:gd name="connsiteY81" fmla="*/ 614362 h 1214437"/>
                <a:gd name="connsiteX82" fmla="*/ 1255411 w 1505727"/>
                <a:gd name="connsiteY82" fmla="*/ 614362 h 1214437"/>
                <a:gd name="connsiteX83" fmla="*/ 1262451 w 1505727"/>
                <a:gd name="connsiteY83" fmla="*/ 621540 h 1214437"/>
                <a:gd name="connsiteX84" fmla="*/ 1262451 w 1505727"/>
                <a:gd name="connsiteY84" fmla="*/ 689734 h 1214437"/>
                <a:gd name="connsiteX85" fmla="*/ 1255411 w 1505727"/>
                <a:gd name="connsiteY85" fmla="*/ 696912 h 1214437"/>
                <a:gd name="connsiteX86" fmla="*/ 1188529 w 1505727"/>
                <a:gd name="connsiteY86" fmla="*/ 696912 h 1214437"/>
                <a:gd name="connsiteX87" fmla="*/ 1181488 w 1505727"/>
                <a:gd name="connsiteY87" fmla="*/ 689734 h 1214437"/>
                <a:gd name="connsiteX88" fmla="*/ 1181488 w 1505727"/>
                <a:gd name="connsiteY88" fmla="*/ 621540 h 1214437"/>
                <a:gd name="connsiteX89" fmla="*/ 1188529 w 1505727"/>
                <a:gd name="connsiteY89" fmla="*/ 614362 h 1214437"/>
                <a:gd name="connsiteX90" fmla="*/ 248866 w 1505727"/>
                <a:gd name="connsiteY90" fmla="*/ 614362 h 1214437"/>
                <a:gd name="connsiteX91" fmla="*/ 317059 w 1505727"/>
                <a:gd name="connsiteY91" fmla="*/ 614362 h 1214437"/>
                <a:gd name="connsiteX92" fmla="*/ 324238 w 1505727"/>
                <a:gd name="connsiteY92" fmla="*/ 621540 h 1214437"/>
                <a:gd name="connsiteX93" fmla="*/ 324238 w 1505727"/>
                <a:gd name="connsiteY93" fmla="*/ 689734 h 1214437"/>
                <a:gd name="connsiteX94" fmla="*/ 317059 w 1505727"/>
                <a:gd name="connsiteY94" fmla="*/ 696912 h 1214437"/>
                <a:gd name="connsiteX95" fmla="*/ 248866 w 1505727"/>
                <a:gd name="connsiteY95" fmla="*/ 696912 h 1214437"/>
                <a:gd name="connsiteX96" fmla="*/ 241688 w 1505727"/>
                <a:gd name="connsiteY96" fmla="*/ 689734 h 1214437"/>
                <a:gd name="connsiteX97" fmla="*/ 241688 w 1505727"/>
                <a:gd name="connsiteY97" fmla="*/ 621540 h 1214437"/>
                <a:gd name="connsiteX98" fmla="*/ 248866 w 1505727"/>
                <a:gd name="connsiteY98" fmla="*/ 614362 h 1214437"/>
                <a:gd name="connsiteX99" fmla="*/ 131253 w 1505727"/>
                <a:gd name="connsiteY99" fmla="*/ 614362 h 1214437"/>
                <a:gd name="connsiteX100" fmla="*/ 198135 w 1505727"/>
                <a:gd name="connsiteY100" fmla="*/ 614362 h 1214437"/>
                <a:gd name="connsiteX101" fmla="*/ 205176 w 1505727"/>
                <a:gd name="connsiteY101" fmla="*/ 621540 h 1214437"/>
                <a:gd name="connsiteX102" fmla="*/ 205176 w 1505727"/>
                <a:gd name="connsiteY102" fmla="*/ 689734 h 1214437"/>
                <a:gd name="connsiteX103" fmla="*/ 198135 w 1505727"/>
                <a:gd name="connsiteY103" fmla="*/ 696912 h 1214437"/>
                <a:gd name="connsiteX104" fmla="*/ 131253 w 1505727"/>
                <a:gd name="connsiteY104" fmla="*/ 696912 h 1214437"/>
                <a:gd name="connsiteX105" fmla="*/ 124213 w 1505727"/>
                <a:gd name="connsiteY105" fmla="*/ 689734 h 1214437"/>
                <a:gd name="connsiteX106" fmla="*/ 124213 w 1505727"/>
                <a:gd name="connsiteY106" fmla="*/ 621540 h 1214437"/>
                <a:gd name="connsiteX107" fmla="*/ 131253 w 1505727"/>
                <a:gd name="connsiteY107" fmla="*/ 614362 h 1214437"/>
                <a:gd name="connsiteX108" fmla="*/ 1434315 w 1505727"/>
                <a:gd name="connsiteY108" fmla="*/ 561975 h 1214437"/>
                <a:gd name="connsiteX109" fmla="*/ 1465651 w 1505727"/>
                <a:gd name="connsiteY109" fmla="*/ 561975 h 1214437"/>
                <a:gd name="connsiteX110" fmla="*/ 1465651 w 1505727"/>
                <a:gd name="connsiteY110" fmla="*/ 951081 h 1214437"/>
                <a:gd name="connsiteX111" fmla="*/ 1449983 w 1505727"/>
                <a:gd name="connsiteY111" fmla="*/ 966788 h 1214437"/>
                <a:gd name="connsiteX112" fmla="*/ 1181488 w 1505727"/>
                <a:gd name="connsiteY112" fmla="*/ 966788 h 1214437"/>
                <a:gd name="connsiteX113" fmla="*/ 1181488 w 1505727"/>
                <a:gd name="connsiteY113" fmla="*/ 935374 h 1214437"/>
                <a:gd name="connsiteX114" fmla="*/ 1434315 w 1505727"/>
                <a:gd name="connsiteY114" fmla="*/ 935374 h 1214437"/>
                <a:gd name="connsiteX115" fmla="*/ 1434315 w 1505727"/>
                <a:gd name="connsiteY115" fmla="*/ 561975 h 1214437"/>
                <a:gd name="connsiteX116" fmla="*/ 40076 w 1505727"/>
                <a:gd name="connsiteY116" fmla="*/ 561975 h 1214437"/>
                <a:gd name="connsiteX117" fmla="*/ 71491 w 1505727"/>
                <a:gd name="connsiteY117" fmla="*/ 561975 h 1214437"/>
                <a:gd name="connsiteX118" fmla="*/ 71491 w 1505727"/>
                <a:gd name="connsiteY118" fmla="*/ 935374 h 1214437"/>
                <a:gd name="connsiteX119" fmla="*/ 324239 w 1505727"/>
                <a:gd name="connsiteY119" fmla="*/ 935374 h 1214437"/>
                <a:gd name="connsiteX120" fmla="*/ 324239 w 1505727"/>
                <a:gd name="connsiteY120" fmla="*/ 966788 h 1214437"/>
                <a:gd name="connsiteX121" fmla="*/ 55783 w 1505727"/>
                <a:gd name="connsiteY121" fmla="*/ 966788 h 1214437"/>
                <a:gd name="connsiteX122" fmla="*/ 40076 w 1505727"/>
                <a:gd name="connsiteY122" fmla="*/ 951081 h 1214437"/>
                <a:gd name="connsiteX123" fmla="*/ 40076 w 1505727"/>
                <a:gd name="connsiteY123" fmla="*/ 561975 h 1214437"/>
                <a:gd name="connsiteX124" fmla="*/ 750274 w 1505727"/>
                <a:gd name="connsiteY124" fmla="*/ 474662 h 1214437"/>
                <a:gd name="connsiteX125" fmla="*/ 741751 w 1505727"/>
                <a:gd name="connsiteY125" fmla="*/ 483301 h 1214437"/>
                <a:gd name="connsiteX126" fmla="*/ 741751 w 1505727"/>
                <a:gd name="connsiteY126" fmla="*/ 527936 h 1214437"/>
                <a:gd name="connsiteX127" fmla="*/ 750274 w 1505727"/>
                <a:gd name="connsiteY127" fmla="*/ 536575 h 1214437"/>
                <a:gd name="connsiteX128" fmla="*/ 787204 w 1505727"/>
                <a:gd name="connsiteY128" fmla="*/ 536575 h 1214437"/>
                <a:gd name="connsiteX129" fmla="*/ 795726 w 1505727"/>
                <a:gd name="connsiteY129" fmla="*/ 527936 h 1214437"/>
                <a:gd name="connsiteX130" fmla="*/ 787204 w 1505727"/>
                <a:gd name="connsiteY130" fmla="*/ 519297 h 1214437"/>
                <a:gd name="connsiteX131" fmla="*/ 758796 w 1505727"/>
                <a:gd name="connsiteY131" fmla="*/ 519297 h 1214437"/>
                <a:gd name="connsiteX132" fmla="*/ 758796 w 1505727"/>
                <a:gd name="connsiteY132" fmla="*/ 483301 h 1214437"/>
                <a:gd name="connsiteX133" fmla="*/ 750274 w 1505727"/>
                <a:gd name="connsiteY133" fmla="*/ 474662 h 1214437"/>
                <a:gd name="connsiteX134" fmla="*/ 752863 w 1505727"/>
                <a:gd name="connsiteY134" fmla="*/ 455612 h 1214437"/>
                <a:gd name="connsiteX135" fmla="*/ 822713 w 1505727"/>
                <a:gd name="connsiteY135" fmla="*/ 525462 h 1214437"/>
                <a:gd name="connsiteX136" fmla="*/ 752863 w 1505727"/>
                <a:gd name="connsiteY136" fmla="*/ 595312 h 1214437"/>
                <a:gd name="connsiteX137" fmla="*/ 683013 w 1505727"/>
                <a:gd name="connsiteY137" fmla="*/ 525462 h 1214437"/>
                <a:gd name="connsiteX138" fmla="*/ 752863 w 1505727"/>
                <a:gd name="connsiteY138" fmla="*/ 455612 h 1214437"/>
                <a:gd name="connsiteX139" fmla="*/ 935426 w 1505727"/>
                <a:gd name="connsiteY139" fmla="*/ 344487 h 1214437"/>
                <a:gd name="connsiteX140" fmla="*/ 1273900 w 1505727"/>
                <a:gd name="connsiteY140" fmla="*/ 344487 h 1214437"/>
                <a:gd name="connsiteX141" fmla="*/ 1498836 w 1505727"/>
                <a:gd name="connsiteY141" fmla="*/ 507798 h 1214437"/>
                <a:gd name="connsiteX142" fmla="*/ 1490267 w 1505727"/>
                <a:gd name="connsiteY142" fmla="*/ 536575 h 1214437"/>
                <a:gd name="connsiteX143" fmla="*/ 1178928 w 1505727"/>
                <a:gd name="connsiteY143" fmla="*/ 536575 h 1214437"/>
                <a:gd name="connsiteX144" fmla="*/ 1174643 w 1505727"/>
                <a:gd name="connsiteY144" fmla="*/ 532259 h 1214437"/>
                <a:gd name="connsiteX145" fmla="*/ 935426 w 1505727"/>
                <a:gd name="connsiteY145" fmla="*/ 344487 h 1214437"/>
                <a:gd name="connsiteX146" fmla="*/ 231112 w 1505727"/>
                <a:gd name="connsiteY146" fmla="*/ 344487 h 1214437"/>
                <a:gd name="connsiteX147" fmla="*/ 570301 w 1505727"/>
                <a:gd name="connsiteY147" fmla="*/ 344487 h 1214437"/>
                <a:gd name="connsiteX148" fmla="*/ 330370 w 1505727"/>
                <a:gd name="connsiteY148" fmla="*/ 532259 h 1214437"/>
                <a:gd name="connsiteX149" fmla="*/ 326085 w 1505727"/>
                <a:gd name="connsiteY149" fmla="*/ 536575 h 1214437"/>
                <a:gd name="connsiteX150" fmla="*/ 15460 w 1505727"/>
                <a:gd name="connsiteY150" fmla="*/ 536575 h 1214437"/>
                <a:gd name="connsiteX151" fmla="*/ 6891 w 1505727"/>
                <a:gd name="connsiteY151" fmla="*/ 507798 h 1214437"/>
                <a:gd name="connsiteX152" fmla="*/ 231112 w 1505727"/>
                <a:gd name="connsiteY152" fmla="*/ 344487 h 1214437"/>
                <a:gd name="connsiteX153" fmla="*/ 743933 w 1505727"/>
                <a:gd name="connsiteY153" fmla="*/ 250347 h 1214437"/>
                <a:gd name="connsiteX154" fmla="*/ 762508 w 1505727"/>
                <a:gd name="connsiteY154" fmla="*/ 250347 h 1214437"/>
                <a:gd name="connsiteX155" fmla="*/ 1143308 w 1505727"/>
                <a:gd name="connsiteY155" fmla="*/ 547411 h 1214437"/>
                <a:gd name="connsiteX156" fmla="*/ 1149738 w 1505727"/>
                <a:gd name="connsiteY156" fmla="*/ 559550 h 1214437"/>
                <a:gd name="connsiteX157" fmla="*/ 1149738 w 1505727"/>
                <a:gd name="connsiteY157" fmla="*/ 1057275 h 1214437"/>
                <a:gd name="connsiteX158" fmla="*/ 1118303 w 1505727"/>
                <a:gd name="connsiteY158" fmla="*/ 1057275 h 1214437"/>
                <a:gd name="connsiteX159" fmla="*/ 1118303 w 1505727"/>
                <a:gd name="connsiteY159" fmla="*/ 567405 h 1214437"/>
                <a:gd name="connsiteX160" fmla="*/ 753220 w 1505727"/>
                <a:gd name="connsiteY160" fmla="*/ 282481 h 1214437"/>
                <a:gd name="connsiteX161" fmla="*/ 387423 w 1505727"/>
                <a:gd name="connsiteY161" fmla="*/ 567405 h 1214437"/>
                <a:gd name="connsiteX162" fmla="*/ 387423 w 1505727"/>
                <a:gd name="connsiteY162" fmla="*/ 1057275 h 1214437"/>
                <a:gd name="connsiteX163" fmla="*/ 355988 w 1505727"/>
                <a:gd name="connsiteY163" fmla="*/ 1057275 h 1214437"/>
                <a:gd name="connsiteX164" fmla="*/ 355988 w 1505727"/>
                <a:gd name="connsiteY164" fmla="*/ 559550 h 1214437"/>
                <a:gd name="connsiteX165" fmla="*/ 362418 w 1505727"/>
                <a:gd name="connsiteY165" fmla="*/ 547411 h 1214437"/>
                <a:gd name="connsiteX166" fmla="*/ 743933 w 1505727"/>
                <a:gd name="connsiteY166" fmla="*/ 250347 h 1214437"/>
                <a:gd name="connsiteX167" fmla="*/ 738988 w 1505727"/>
                <a:gd name="connsiteY167" fmla="*/ 0 h 1214437"/>
                <a:gd name="connsiteX168" fmla="*/ 762664 w 1505727"/>
                <a:gd name="connsiteY168" fmla="*/ 0 h 1214437"/>
                <a:gd name="connsiteX169" fmla="*/ 953500 w 1505727"/>
                <a:gd name="connsiteY169" fmla="*/ 0 h 1214437"/>
                <a:gd name="connsiteX170" fmla="*/ 956370 w 1505727"/>
                <a:gd name="connsiteY170" fmla="*/ 7131 h 1214437"/>
                <a:gd name="connsiteX171" fmla="*/ 907584 w 1505727"/>
                <a:gd name="connsiteY171" fmla="*/ 55620 h 1214437"/>
                <a:gd name="connsiteX172" fmla="*/ 907584 w 1505727"/>
                <a:gd name="connsiteY172" fmla="*/ 61325 h 1214437"/>
                <a:gd name="connsiteX173" fmla="*/ 956370 w 1505727"/>
                <a:gd name="connsiteY173" fmla="*/ 109814 h 1214437"/>
                <a:gd name="connsiteX174" fmla="*/ 953500 w 1505727"/>
                <a:gd name="connsiteY174" fmla="*/ 116944 h 1214437"/>
                <a:gd name="connsiteX175" fmla="*/ 770555 w 1505727"/>
                <a:gd name="connsiteY175" fmla="*/ 116944 h 1214437"/>
                <a:gd name="connsiteX176" fmla="*/ 766968 w 1505727"/>
                <a:gd name="connsiteY176" fmla="*/ 120510 h 1214437"/>
                <a:gd name="connsiteX177" fmla="*/ 766968 w 1505727"/>
                <a:gd name="connsiteY177" fmla="*/ 214636 h 1214437"/>
                <a:gd name="connsiteX178" fmla="*/ 761946 w 1505727"/>
                <a:gd name="connsiteY178" fmla="*/ 211070 h 1214437"/>
                <a:gd name="connsiteX179" fmla="*/ 743293 w 1505727"/>
                <a:gd name="connsiteY179" fmla="*/ 211070 h 1214437"/>
                <a:gd name="connsiteX180" fmla="*/ 735401 w 1505727"/>
                <a:gd name="connsiteY180" fmla="*/ 217488 h 1214437"/>
                <a:gd name="connsiteX181" fmla="*/ 735401 w 1505727"/>
                <a:gd name="connsiteY181" fmla="*/ 116944 h 1214437"/>
                <a:gd name="connsiteX182" fmla="*/ 735401 w 1505727"/>
                <a:gd name="connsiteY182" fmla="*/ 4279 h 1214437"/>
                <a:gd name="connsiteX183" fmla="*/ 738988 w 1505727"/>
                <a:gd name="connsiteY183" fmla="*/ 0 h 1214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1505727" h="1214437">
                  <a:moveTo>
                    <a:pt x="350794" y="1090612"/>
                  </a:moveTo>
                  <a:cubicBezTo>
                    <a:pt x="1154933" y="1090612"/>
                    <a:pt x="1154933" y="1090612"/>
                    <a:pt x="1154933" y="1090612"/>
                  </a:cubicBezTo>
                  <a:cubicBezTo>
                    <a:pt x="1162796" y="1090612"/>
                    <a:pt x="1169944" y="1097017"/>
                    <a:pt x="1169944" y="1105557"/>
                  </a:cubicBezTo>
                  <a:cubicBezTo>
                    <a:pt x="1169944" y="1126194"/>
                    <a:pt x="1169944" y="1126194"/>
                    <a:pt x="1169944" y="1126194"/>
                  </a:cubicBezTo>
                  <a:cubicBezTo>
                    <a:pt x="1214976" y="1126194"/>
                    <a:pt x="1214976" y="1126194"/>
                    <a:pt x="1214976" y="1126194"/>
                  </a:cubicBezTo>
                  <a:cubicBezTo>
                    <a:pt x="1223553" y="1126194"/>
                    <a:pt x="1230701" y="1133310"/>
                    <a:pt x="1230701" y="1141850"/>
                  </a:cubicBezTo>
                  <a:cubicBezTo>
                    <a:pt x="1230701" y="1199493"/>
                    <a:pt x="1230701" y="1199493"/>
                    <a:pt x="1230701" y="1199493"/>
                  </a:cubicBezTo>
                  <a:cubicBezTo>
                    <a:pt x="1230701" y="1208032"/>
                    <a:pt x="1223553" y="1214437"/>
                    <a:pt x="1214976" y="1214437"/>
                  </a:cubicBezTo>
                  <a:cubicBezTo>
                    <a:pt x="290751" y="1214437"/>
                    <a:pt x="290751" y="1214437"/>
                    <a:pt x="290751" y="1214437"/>
                  </a:cubicBezTo>
                  <a:cubicBezTo>
                    <a:pt x="282174" y="1214437"/>
                    <a:pt x="275026" y="1208032"/>
                    <a:pt x="275026" y="1199493"/>
                  </a:cubicBezTo>
                  <a:cubicBezTo>
                    <a:pt x="275026" y="1141850"/>
                    <a:pt x="275026" y="1141850"/>
                    <a:pt x="275026" y="1141850"/>
                  </a:cubicBezTo>
                  <a:cubicBezTo>
                    <a:pt x="275026" y="1133310"/>
                    <a:pt x="282174" y="1126194"/>
                    <a:pt x="290751" y="1126194"/>
                  </a:cubicBezTo>
                  <a:cubicBezTo>
                    <a:pt x="335783" y="1126194"/>
                    <a:pt x="335783" y="1126194"/>
                    <a:pt x="335783" y="1126194"/>
                  </a:cubicBezTo>
                  <a:cubicBezTo>
                    <a:pt x="335783" y="1105557"/>
                    <a:pt x="335783" y="1105557"/>
                    <a:pt x="335783" y="1105557"/>
                  </a:cubicBezTo>
                  <a:cubicBezTo>
                    <a:pt x="335783" y="1097017"/>
                    <a:pt x="342931" y="1090612"/>
                    <a:pt x="350794" y="1090612"/>
                  </a:cubicBezTo>
                  <a:close/>
                  <a:moveTo>
                    <a:pt x="674282" y="736600"/>
                  </a:moveTo>
                  <a:cubicBezTo>
                    <a:pt x="831444" y="736600"/>
                    <a:pt x="831444" y="736600"/>
                    <a:pt x="831444" y="736600"/>
                  </a:cubicBezTo>
                  <a:cubicBezTo>
                    <a:pt x="835731" y="736600"/>
                    <a:pt x="838588" y="739449"/>
                    <a:pt x="838588" y="743723"/>
                  </a:cubicBezTo>
                  <a:cubicBezTo>
                    <a:pt x="838588" y="1048566"/>
                    <a:pt x="838588" y="1048566"/>
                    <a:pt x="838588" y="1048566"/>
                  </a:cubicBezTo>
                  <a:cubicBezTo>
                    <a:pt x="838588" y="1052839"/>
                    <a:pt x="835731" y="1055688"/>
                    <a:pt x="831444" y="1055688"/>
                  </a:cubicBezTo>
                  <a:cubicBezTo>
                    <a:pt x="674282" y="1055688"/>
                    <a:pt x="674282" y="1055688"/>
                    <a:pt x="674282" y="1055688"/>
                  </a:cubicBezTo>
                  <a:cubicBezTo>
                    <a:pt x="669995" y="1055688"/>
                    <a:pt x="667138" y="1052839"/>
                    <a:pt x="667138" y="1048566"/>
                  </a:cubicBezTo>
                  <a:cubicBezTo>
                    <a:pt x="667138" y="743723"/>
                    <a:pt x="667138" y="743723"/>
                    <a:pt x="667138" y="743723"/>
                  </a:cubicBezTo>
                  <a:cubicBezTo>
                    <a:pt x="667138" y="739449"/>
                    <a:pt x="669995" y="736600"/>
                    <a:pt x="674282" y="736600"/>
                  </a:cubicBezTo>
                  <a:close/>
                  <a:moveTo>
                    <a:pt x="1306142" y="730250"/>
                  </a:moveTo>
                  <a:cubicBezTo>
                    <a:pt x="1306142" y="730250"/>
                    <a:pt x="1306142" y="730250"/>
                    <a:pt x="1374335" y="730250"/>
                  </a:cubicBezTo>
                  <a:cubicBezTo>
                    <a:pt x="1378642" y="730250"/>
                    <a:pt x="1381513" y="733121"/>
                    <a:pt x="1381513" y="737428"/>
                  </a:cubicBezTo>
                  <a:cubicBezTo>
                    <a:pt x="1381513" y="737428"/>
                    <a:pt x="1381513" y="737428"/>
                    <a:pt x="1381513" y="805622"/>
                  </a:cubicBezTo>
                  <a:cubicBezTo>
                    <a:pt x="1381513" y="809929"/>
                    <a:pt x="1378642" y="812800"/>
                    <a:pt x="1374335" y="812800"/>
                  </a:cubicBezTo>
                  <a:cubicBezTo>
                    <a:pt x="1374335" y="812800"/>
                    <a:pt x="1374335" y="812800"/>
                    <a:pt x="1306142" y="812800"/>
                  </a:cubicBezTo>
                  <a:cubicBezTo>
                    <a:pt x="1302552" y="812800"/>
                    <a:pt x="1298963" y="809929"/>
                    <a:pt x="1298963" y="805622"/>
                  </a:cubicBezTo>
                  <a:cubicBezTo>
                    <a:pt x="1298963" y="805622"/>
                    <a:pt x="1298963" y="805622"/>
                    <a:pt x="1298963" y="737428"/>
                  </a:cubicBezTo>
                  <a:cubicBezTo>
                    <a:pt x="1298963" y="733121"/>
                    <a:pt x="1302552" y="730250"/>
                    <a:pt x="1306142" y="730250"/>
                  </a:cubicBezTo>
                  <a:close/>
                  <a:moveTo>
                    <a:pt x="1188529" y="730250"/>
                  </a:moveTo>
                  <a:cubicBezTo>
                    <a:pt x="1188529" y="730250"/>
                    <a:pt x="1188529" y="730250"/>
                    <a:pt x="1255411" y="730250"/>
                  </a:cubicBezTo>
                  <a:cubicBezTo>
                    <a:pt x="1259635" y="730250"/>
                    <a:pt x="1262451" y="733121"/>
                    <a:pt x="1262451" y="737428"/>
                  </a:cubicBezTo>
                  <a:cubicBezTo>
                    <a:pt x="1262451" y="737428"/>
                    <a:pt x="1262451" y="737428"/>
                    <a:pt x="1262451" y="805622"/>
                  </a:cubicBezTo>
                  <a:cubicBezTo>
                    <a:pt x="1262451" y="809929"/>
                    <a:pt x="1259635" y="812800"/>
                    <a:pt x="1255411" y="812800"/>
                  </a:cubicBezTo>
                  <a:cubicBezTo>
                    <a:pt x="1255411" y="812800"/>
                    <a:pt x="1255411" y="812800"/>
                    <a:pt x="1188529" y="812800"/>
                  </a:cubicBezTo>
                  <a:cubicBezTo>
                    <a:pt x="1184304" y="812800"/>
                    <a:pt x="1181488" y="809929"/>
                    <a:pt x="1181488" y="805622"/>
                  </a:cubicBezTo>
                  <a:cubicBezTo>
                    <a:pt x="1181488" y="805622"/>
                    <a:pt x="1181488" y="805622"/>
                    <a:pt x="1181488" y="737428"/>
                  </a:cubicBezTo>
                  <a:cubicBezTo>
                    <a:pt x="1181488" y="733121"/>
                    <a:pt x="1184304" y="730250"/>
                    <a:pt x="1188529" y="730250"/>
                  </a:cubicBezTo>
                  <a:close/>
                  <a:moveTo>
                    <a:pt x="248866" y="730250"/>
                  </a:moveTo>
                  <a:cubicBezTo>
                    <a:pt x="248866" y="730250"/>
                    <a:pt x="248866" y="730250"/>
                    <a:pt x="317059" y="730250"/>
                  </a:cubicBezTo>
                  <a:cubicBezTo>
                    <a:pt x="321366" y="730250"/>
                    <a:pt x="324238" y="733121"/>
                    <a:pt x="324238" y="737428"/>
                  </a:cubicBezTo>
                  <a:cubicBezTo>
                    <a:pt x="324238" y="737428"/>
                    <a:pt x="324238" y="737428"/>
                    <a:pt x="324238" y="805622"/>
                  </a:cubicBezTo>
                  <a:cubicBezTo>
                    <a:pt x="324238" y="809929"/>
                    <a:pt x="321366" y="812800"/>
                    <a:pt x="317059" y="812800"/>
                  </a:cubicBezTo>
                  <a:cubicBezTo>
                    <a:pt x="317059" y="812800"/>
                    <a:pt x="317059" y="812800"/>
                    <a:pt x="248866" y="812800"/>
                  </a:cubicBezTo>
                  <a:cubicBezTo>
                    <a:pt x="244559" y="812800"/>
                    <a:pt x="241688" y="809929"/>
                    <a:pt x="241688" y="805622"/>
                  </a:cubicBezTo>
                  <a:cubicBezTo>
                    <a:pt x="241688" y="805622"/>
                    <a:pt x="241688" y="805622"/>
                    <a:pt x="241688" y="737428"/>
                  </a:cubicBezTo>
                  <a:cubicBezTo>
                    <a:pt x="241688" y="733121"/>
                    <a:pt x="244559" y="730250"/>
                    <a:pt x="248866" y="730250"/>
                  </a:cubicBezTo>
                  <a:close/>
                  <a:moveTo>
                    <a:pt x="131253" y="730250"/>
                  </a:moveTo>
                  <a:cubicBezTo>
                    <a:pt x="131253" y="730250"/>
                    <a:pt x="131253" y="730250"/>
                    <a:pt x="198135" y="730250"/>
                  </a:cubicBezTo>
                  <a:cubicBezTo>
                    <a:pt x="201656" y="730250"/>
                    <a:pt x="205176" y="733121"/>
                    <a:pt x="205176" y="737428"/>
                  </a:cubicBezTo>
                  <a:cubicBezTo>
                    <a:pt x="205176" y="737428"/>
                    <a:pt x="205176" y="737428"/>
                    <a:pt x="205176" y="805622"/>
                  </a:cubicBezTo>
                  <a:cubicBezTo>
                    <a:pt x="205176" y="809929"/>
                    <a:pt x="201656" y="812800"/>
                    <a:pt x="198135" y="812800"/>
                  </a:cubicBezTo>
                  <a:cubicBezTo>
                    <a:pt x="198135" y="812800"/>
                    <a:pt x="198135" y="812800"/>
                    <a:pt x="131253" y="812800"/>
                  </a:cubicBezTo>
                  <a:cubicBezTo>
                    <a:pt x="127029" y="812800"/>
                    <a:pt x="124213" y="809929"/>
                    <a:pt x="124213" y="805622"/>
                  </a:cubicBezTo>
                  <a:cubicBezTo>
                    <a:pt x="124213" y="805622"/>
                    <a:pt x="124213" y="805622"/>
                    <a:pt x="124213" y="737428"/>
                  </a:cubicBezTo>
                  <a:cubicBezTo>
                    <a:pt x="124213" y="733121"/>
                    <a:pt x="127029" y="730250"/>
                    <a:pt x="131253" y="730250"/>
                  </a:cubicBezTo>
                  <a:close/>
                  <a:moveTo>
                    <a:pt x="983051" y="638175"/>
                  </a:moveTo>
                  <a:cubicBezTo>
                    <a:pt x="1019615" y="638175"/>
                    <a:pt x="1049726" y="667369"/>
                    <a:pt x="1049726" y="703683"/>
                  </a:cubicBezTo>
                  <a:cubicBezTo>
                    <a:pt x="1049726" y="703683"/>
                    <a:pt x="1049726" y="703683"/>
                    <a:pt x="1049726" y="928688"/>
                  </a:cubicBezTo>
                  <a:cubicBezTo>
                    <a:pt x="1049726" y="928688"/>
                    <a:pt x="1049726" y="928688"/>
                    <a:pt x="916376" y="928688"/>
                  </a:cubicBezTo>
                  <a:cubicBezTo>
                    <a:pt x="916376" y="928688"/>
                    <a:pt x="916376" y="928688"/>
                    <a:pt x="916376" y="703683"/>
                  </a:cubicBezTo>
                  <a:cubicBezTo>
                    <a:pt x="916376" y="667369"/>
                    <a:pt x="946488" y="638175"/>
                    <a:pt x="983051" y="638175"/>
                  </a:cubicBezTo>
                  <a:close/>
                  <a:moveTo>
                    <a:pt x="522676" y="638175"/>
                  </a:moveTo>
                  <a:cubicBezTo>
                    <a:pt x="559239" y="638175"/>
                    <a:pt x="589351" y="667369"/>
                    <a:pt x="589351" y="703683"/>
                  </a:cubicBezTo>
                  <a:cubicBezTo>
                    <a:pt x="589351" y="703683"/>
                    <a:pt x="589351" y="703683"/>
                    <a:pt x="589351" y="928688"/>
                  </a:cubicBezTo>
                  <a:cubicBezTo>
                    <a:pt x="589351" y="928688"/>
                    <a:pt x="589351" y="928688"/>
                    <a:pt x="456001" y="928688"/>
                  </a:cubicBezTo>
                  <a:cubicBezTo>
                    <a:pt x="456001" y="928688"/>
                    <a:pt x="456001" y="928688"/>
                    <a:pt x="456001" y="703683"/>
                  </a:cubicBezTo>
                  <a:cubicBezTo>
                    <a:pt x="456001" y="667369"/>
                    <a:pt x="486112" y="638175"/>
                    <a:pt x="522676" y="638175"/>
                  </a:cubicBezTo>
                  <a:close/>
                  <a:moveTo>
                    <a:pt x="1306142" y="614362"/>
                  </a:moveTo>
                  <a:cubicBezTo>
                    <a:pt x="1306142" y="614362"/>
                    <a:pt x="1306142" y="614362"/>
                    <a:pt x="1374335" y="614362"/>
                  </a:cubicBezTo>
                  <a:cubicBezTo>
                    <a:pt x="1378642" y="614362"/>
                    <a:pt x="1381513" y="617233"/>
                    <a:pt x="1381513" y="621540"/>
                  </a:cubicBezTo>
                  <a:cubicBezTo>
                    <a:pt x="1381513" y="621540"/>
                    <a:pt x="1381513" y="621540"/>
                    <a:pt x="1381513" y="689734"/>
                  </a:cubicBezTo>
                  <a:cubicBezTo>
                    <a:pt x="1381513" y="694041"/>
                    <a:pt x="1378642" y="696912"/>
                    <a:pt x="1374335" y="696912"/>
                  </a:cubicBezTo>
                  <a:cubicBezTo>
                    <a:pt x="1374335" y="696912"/>
                    <a:pt x="1374335" y="696912"/>
                    <a:pt x="1306142" y="696912"/>
                  </a:cubicBezTo>
                  <a:cubicBezTo>
                    <a:pt x="1302552" y="696912"/>
                    <a:pt x="1298963" y="694041"/>
                    <a:pt x="1298963" y="689734"/>
                  </a:cubicBezTo>
                  <a:cubicBezTo>
                    <a:pt x="1298963" y="689734"/>
                    <a:pt x="1298963" y="689734"/>
                    <a:pt x="1298963" y="621540"/>
                  </a:cubicBezTo>
                  <a:cubicBezTo>
                    <a:pt x="1298963" y="617233"/>
                    <a:pt x="1302552" y="614362"/>
                    <a:pt x="1306142" y="614362"/>
                  </a:cubicBezTo>
                  <a:close/>
                  <a:moveTo>
                    <a:pt x="1188529" y="614362"/>
                  </a:moveTo>
                  <a:cubicBezTo>
                    <a:pt x="1188529" y="614362"/>
                    <a:pt x="1188529" y="614362"/>
                    <a:pt x="1255411" y="614362"/>
                  </a:cubicBezTo>
                  <a:cubicBezTo>
                    <a:pt x="1259635" y="614362"/>
                    <a:pt x="1262451" y="617233"/>
                    <a:pt x="1262451" y="621540"/>
                  </a:cubicBezTo>
                  <a:cubicBezTo>
                    <a:pt x="1262451" y="621540"/>
                    <a:pt x="1262451" y="621540"/>
                    <a:pt x="1262451" y="689734"/>
                  </a:cubicBezTo>
                  <a:cubicBezTo>
                    <a:pt x="1262451" y="694041"/>
                    <a:pt x="1259635" y="696912"/>
                    <a:pt x="1255411" y="696912"/>
                  </a:cubicBezTo>
                  <a:cubicBezTo>
                    <a:pt x="1255411" y="696912"/>
                    <a:pt x="1255411" y="696912"/>
                    <a:pt x="1188529" y="696912"/>
                  </a:cubicBezTo>
                  <a:cubicBezTo>
                    <a:pt x="1184304" y="696912"/>
                    <a:pt x="1181488" y="694041"/>
                    <a:pt x="1181488" y="689734"/>
                  </a:cubicBezTo>
                  <a:cubicBezTo>
                    <a:pt x="1181488" y="689734"/>
                    <a:pt x="1181488" y="689734"/>
                    <a:pt x="1181488" y="621540"/>
                  </a:cubicBezTo>
                  <a:cubicBezTo>
                    <a:pt x="1181488" y="617233"/>
                    <a:pt x="1184304" y="614362"/>
                    <a:pt x="1188529" y="614362"/>
                  </a:cubicBezTo>
                  <a:close/>
                  <a:moveTo>
                    <a:pt x="248866" y="614362"/>
                  </a:moveTo>
                  <a:cubicBezTo>
                    <a:pt x="248866" y="614362"/>
                    <a:pt x="248866" y="614362"/>
                    <a:pt x="317059" y="614362"/>
                  </a:cubicBezTo>
                  <a:cubicBezTo>
                    <a:pt x="321366" y="614362"/>
                    <a:pt x="324238" y="617233"/>
                    <a:pt x="324238" y="621540"/>
                  </a:cubicBezTo>
                  <a:cubicBezTo>
                    <a:pt x="324238" y="621540"/>
                    <a:pt x="324238" y="621540"/>
                    <a:pt x="324238" y="689734"/>
                  </a:cubicBezTo>
                  <a:cubicBezTo>
                    <a:pt x="324238" y="694041"/>
                    <a:pt x="321366" y="696912"/>
                    <a:pt x="317059" y="696912"/>
                  </a:cubicBezTo>
                  <a:cubicBezTo>
                    <a:pt x="317059" y="696912"/>
                    <a:pt x="317059" y="696912"/>
                    <a:pt x="248866" y="696912"/>
                  </a:cubicBezTo>
                  <a:cubicBezTo>
                    <a:pt x="244559" y="696912"/>
                    <a:pt x="241688" y="694041"/>
                    <a:pt x="241688" y="689734"/>
                  </a:cubicBezTo>
                  <a:cubicBezTo>
                    <a:pt x="241688" y="689734"/>
                    <a:pt x="241688" y="689734"/>
                    <a:pt x="241688" y="621540"/>
                  </a:cubicBezTo>
                  <a:cubicBezTo>
                    <a:pt x="241688" y="617233"/>
                    <a:pt x="244559" y="614362"/>
                    <a:pt x="248866" y="614362"/>
                  </a:cubicBezTo>
                  <a:close/>
                  <a:moveTo>
                    <a:pt x="131253" y="614362"/>
                  </a:moveTo>
                  <a:cubicBezTo>
                    <a:pt x="131253" y="614362"/>
                    <a:pt x="131253" y="614362"/>
                    <a:pt x="198135" y="614362"/>
                  </a:cubicBezTo>
                  <a:cubicBezTo>
                    <a:pt x="201656" y="614362"/>
                    <a:pt x="205176" y="617233"/>
                    <a:pt x="205176" y="621540"/>
                  </a:cubicBezTo>
                  <a:cubicBezTo>
                    <a:pt x="205176" y="621540"/>
                    <a:pt x="205176" y="621540"/>
                    <a:pt x="205176" y="689734"/>
                  </a:cubicBezTo>
                  <a:cubicBezTo>
                    <a:pt x="205176" y="694041"/>
                    <a:pt x="201656" y="696912"/>
                    <a:pt x="198135" y="696912"/>
                  </a:cubicBezTo>
                  <a:cubicBezTo>
                    <a:pt x="198135" y="696912"/>
                    <a:pt x="198135" y="696912"/>
                    <a:pt x="131253" y="696912"/>
                  </a:cubicBezTo>
                  <a:cubicBezTo>
                    <a:pt x="127029" y="696912"/>
                    <a:pt x="124213" y="694041"/>
                    <a:pt x="124213" y="689734"/>
                  </a:cubicBezTo>
                  <a:cubicBezTo>
                    <a:pt x="124213" y="689734"/>
                    <a:pt x="124213" y="689734"/>
                    <a:pt x="124213" y="621540"/>
                  </a:cubicBezTo>
                  <a:cubicBezTo>
                    <a:pt x="124213" y="617233"/>
                    <a:pt x="127029" y="614362"/>
                    <a:pt x="131253" y="614362"/>
                  </a:cubicBezTo>
                  <a:close/>
                  <a:moveTo>
                    <a:pt x="1434315" y="561975"/>
                  </a:moveTo>
                  <a:cubicBezTo>
                    <a:pt x="1465651" y="561975"/>
                    <a:pt x="1465651" y="561975"/>
                    <a:pt x="1465651" y="561975"/>
                  </a:cubicBezTo>
                  <a:cubicBezTo>
                    <a:pt x="1465651" y="951081"/>
                    <a:pt x="1465651" y="951081"/>
                    <a:pt x="1465651" y="951081"/>
                  </a:cubicBezTo>
                  <a:cubicBezTo>
                    <a:pt x="1465651" y="959649"/>
                    <a:pt x="1459242" y="966788"/>
                    <a:pt x="1449983" y="966788"/>
                  </a:cubicBezTo>
                  <a:cubicBezTo>
                    <a:pt x="1181488" y="966788"/>
                    <a:pt x="1181488" y="966788"/>
                    <a:pt x="1181488" y="966788"/>
                  </a:cubicBezTo>
                  <a:cubicBezTo>
                    <a:pt x="1181488" y="935374"/>
                    <a:pt x="1181488" y="935374"/>
                    <a:pt x="1181488" y="935374"/>
                  </a:cubicBezTo>
                  <a:cubicBezTo>
                    <a:pt x="1434315" y="935374"/>
                    <a:pt x="1434315" y="935374"/>
                    <a:pt x="1434315" y="935374"/>
                  </a:cubicBezTo>
                  <a:cubicBezTo>
                    <a:pt x="1434315" y="561975"/>
                    <a:pt x="1434315" y="561975"/>
                    <a:pt x="1434315" y="561975"/>
                  </a:cubicBezTo>
                  <a:close/>
                  <a:moveTo>
                    <a:pt x="40076" y="561975"/>
                  </a:moveTo>
                  <a:cubicBezTo>
                    <a:pt x="40076" y="561975"/>
                    <a:pt x="40076" y="561975"/>
                    <a:pt x="71491" y="561975"/>
                  </a:cubicBezTo>
                  <a:cubicBezTo>
                    <a:pt x="71491" y="561975"/>
                    <a:pt x="71491" y="561975"/>
                    <a:pt x="71491" y="935374"/>
                  </a:cubicBezTo>
                  <a:cubicBezTo>
                    <a:pt x="71491" y="935374"/>
                    <a:pt x="71491" y="935374"/>
                    <a:pt x="324239" y="935374"/>
                  </a:cubicBezTo>
                  <a:cubicBezTo>
                    <a:pt x="324239" y="935374"/>
                    <a:pt x="324239" y="935374"/>
                    <a:pt x="324239" y="966788"/>
                  </a:cubicBezTo>
                  <a:cubicBezTo>
                    <a:pt x="324239" y="966788"/>
                    <a:pt x="324239" y="966788"/>
                    <a:pt x="55783" y="966788"/>
                  </a:cubicBezTo>
                  <a:cubicBezTo>
                    <a:pt x="46502" y="966788"/>
                    <a:pt x="40076" y="959649"/>
                    <a:pt x="40076" y="951081"/>
                  </a:cubicBezTo>
                  <a:cubicBezTo>
                    <a:pt x="40076" y="951081"/>
                    <a:pt x="40076" y="951081"/>
                    <a:pt x="40076" y="561975"/>
                  </a:cubicBezTo>
                  <a:close/>
                  <a:moveTo>
                    <a:pt x="750274" y="474662"/>
                  </a:moveTo>
                  <a:cubicBezTo>
                    <a:pt x="745302" y="474662"/>
                    <a:pt x="741751" y="478982"/>
                    <a:pt x="741751" y="483301"/>
                  </a:cubicBezTo>
                  <a:cubicBezTo>
                    <a:pt x="741751" y="527936"/>
                    <a:pt x="741751" y="527936"/>
                    <a:pt x="741751" y="527936"/>
                  </a:cubicBezTo>
                  <a:cubicBezTo>
                    <a:pt x="741751" y="532976"/>
                    <a:pt x="745302" y="536575"/>
                    <a:pt x="750274" y="536575"/>
                  </a:cubicBezTo>
                  <a:cubicBezTo>
                    <a:pt x="787204" y="536575"/>
                    <a:pt x="787204" y="536575"/>
                    <a:pt x="787204" y="536575"/>
                  </a:cubicBezTo>
                  <a:cubicBezTo>
                    <a:pt x="791465" y="536575"/>
                    <a:pt x="795726" y="532976"/>
                    <a:pt x="795726" y="527936"/>
                  </a:cubicBezTo>
                  <a:cubicBezTo>
                    <a:pt x="795726" y="523617"/>
                    <a:pt x="791465" y="519297"/>
                    <a:pt x="787204" y="519297"/>
                  </a:cubicBezTo>
                  <a:cubicBezTo>
                    <a:pt x="758796" y="519297"/>
                    <a:pt x="758796" y="519297"/>
                    <a:pt x="758796" y="519297"/>
                  </a:cubicBezTo>
                  <a:cubicBezTo>
                    <a:pt x="758796" y="483301"/>
                    <a:pt x="758796" y="483301"/>
                    <a:pt x="758796" y="483301"/>
                  </a:cubicBezTo>
                  <a:cubicBezTo>
                    <a:pt x="758796" y="478982"/>
                    <a:pt x="755245" y="474662"/>
                    <a:pt x="750274" y="474662"/>
                  </a:cubicBezTo>
                  <a:close/>
                  <a:moveTo>
                    <a:pt x="752863" y="455612"/>
                  </a:moveTo>
                  <a:cubicBezTo>
                    <a:pt x="791440" y="455612"/>
                    <a:pt x="822713" y="486885"/>
                    <a:pt x="822713" y="525462"/>
                  </a:cubicBezTo>
                  <a:cubicBezTo>
                    <a:pt x="822713" y="564039"/>
                    <a:pt x="791440" y="595312"/>
                    <a:pt x="752863" y="595312"/>
                  </a:cubicBezTo>
                  <a:cubicBezTo>
                    <a:pt x="714286" y="595312"/>
                    <a:pt x="683013" y="564039"/>
                    <a:pt x="683013" y="525462"/>
                  </a:cubicBezTo>
                  <a:cubicBezTo>
                    <a:pt x="683013" y="486885"/>
                    <a:pt x="714286" y="455612"/>
                    <a:pt x="752863" y="455612"/>
                  </a:cubicBezTo>
                  <a:close/>
                  <a:moveTo>
                    <a:pt x="935426" y="344487"/>
                  </a:moveTo>
                  <a:cubicBezTo>
                    <a:pt x="935426" y="344487"/>
                    <a:pt x="935426" y="344487"/>
                    <a:pt x="1273900" y="344487"/>
                  </a:cubicBezTo>
                  <a:cubicBezTo>
                    <a:pt x="1273900" y="344487"/>
                    <a:pt x="1273900" y="344487"/>
                    <a:pt x="1498836" y="507798"/>
                  </a:cubicBezTo>
                  <a:cubicBezTo>
                    <a:pt x="1511689" y="517151"/>
                    <a:pt x="1505262" y="536575"/>
                    <a:pt x="1490267" y="536575"/>
                  </a:cubicBezTo>
                  <a:cubicBezTo>
                    <a:pt x="1490267" y="536575"/>
                    <a:pt x="1490267" y="536575"/>
                    <a:pt x="1178928" y="536575"/>
                  </a:cubicBezTo>
                  <a:cubicBezTo>
                    <a:pt x="1178214" y="535136"/>
                    <a:pt x="1176785" y="532978"/>
                    <a:pt x="1174643" y="532259"/>
                  </a:cubicBezTo>
                  <a:cubicBezTo>
                    <a:pt x="1174643" y="532259"/>
                    <a:pt x="1174643" y="532259"/>
                    <a:pt x="935426" y="344487"/>
                  </a:cubicBezTo>
                  <a:close/>
                  <a:moveTo>
                    <a:pt x="231112" y="344487"/>
                  </a:moveTo>
                  <a:cubicBezTo>
                    <a:pt x="231112" y="344487"/>
                    <a:pt x="231112" y="344487"/>
                    <a:pt x="570301" y="344487"/>
                  </a:cubicBezTo>
                  <a:cubicBezTo>
                    <a:pt x="570301" y="344487"/>
                    <a:pt x="570301" y="344487"/>
                    <a:pt x="330370" y="532259"/>
                  </a:cubicBezTo>
                  <a:cubicBezTo>
                    <a:pt x="328227" y="532978"/>
                    <a:pt x="326799" y="535136"/>
                    <a:pt x="326085" y="536575"/>
                  </a:cubicBezTo>
                  <a:cubicBezTo>
                    <a:pt x="326085" y="536575"/>
                    <a:pt x="326085" y="536575"/>
                    <a:pt x="15460" y="536575"/>
                  </a:cubicBezTo>
                  <a:cubicBezTo>
                    <a:pt x="464" y="536575"/>
                    <a:pt x="-5962" y="517151"/>
                    <a:pt x="6891" y="507798"/>
                  </a:cubicBezTo>
                  <a:cubicBezTo>
                    <a:pt x="6891" y="507798"/>
                    <a:pt x="6891" y="507798"/>
                    <a:pt x="231112" y="344487"/>
                  </a:cubicBezTo>
                  <a:close/>
                  <a:moveTo>
                    <a:pt x="743933" y="250347"/>
                  </a:moveTo>
                  <a:cubicBezTo>
                    <a:pt x="748934" y="246062"/>
                    <a:pt x="757507" y="246062"/>
                    <a:pt x="762508" y="250347"/>
                  </a:cubicBezTo>
                  <a:cubicBezTo>
                    <a:pt x="762508" y="250347"/>
                    <a:pt x="762508" y="250347"/>
                    <a:pt x="1143308" y="547411"/>
                  </a:cubicBezTo>
                  <a:cubicBezTo>
                    <a:pt x="1147595" y="550267"/>
                    <a:pt x="1149738" y="555266"/>
                    <a:pt x="1149738" y="559550"/>
                  </a:cubicBezTo>
                  <a:cubicBezTo>
                    <a:pt x="1149738" y="559550"/>
                    <a:pt x="1149738" y="559550"/>
                    <a:pt x="1149738" y="1057275"/>
                  </a:cubicBezTo>
                  <a:cubicBezTo>
                    <a:pt x="1149738" y="1057275"/>
                    <a:pt x="1149738" y="1057275"/>
                    <a:pt x="1118303" y="1057275"/>
                  </a:cubicBezTo>
                  <a:cubicBezTo>
                    <a:pt x="1118303" y="1057275"/>
                    <a:pt x="1118303" y="1057275"/>
                    <a:pt x="1118303" y="567405"/>
                  </a:cubicBezTo>
                  <a:cubicBezTo>
                    <a:pt x="1118303" y="567405"/>
                    <a:pt x="1118303" y="567405"/>
                    <a:pt x="753220" y="282481"/>
                  </a:cubicBezTo>
                  <a:cubicBezTo>
                    <a:pt x="753220" y="282481"/>
                    <a:pt x="753220" y="282481"/>
                    <a:pt x="387423" y="567405"/>
                  </a:cubicBezTo>
                  <a:cubicBezTo>
                    <a:pt x="387423" y="567405"/>
                    <a:pt x="387423" y="567405"/>
                    <a:pt x="387423" y="1057275"/>
                  </a:cubicBezTo>
                  <a:cubicBezTo>
                    <a:pt x="387423" y="1057275"/>
                    <a:pt x="387423" y="1057275"/>
                    <a:pt x="355988" y="1057275"/>
                  </a:cubicBezTo>
                  <a:cubicBezTo>
                    <a:pt x="355988" y="1057275"/>
                    <a:pt x="355988" y="1057275"/>
                    <a:pt x="355988" y="559550"/>
                  </a:cubicBezTo>
                  <a:cubicBezTo>
                    <a:pt x="355988" y="555266"/>
                    <a:pt x="358131" y="550267"/>
                    <a:pt x="362418" y="547411"/>
                  </a:cubicBezTo>
                  <a:cubicBezTo>
                    <a:pt x="362418" y="547411"/>
                    <a:pt x="362418" y="547411"/>
                    <a:pt x="743933" y="250347"/>
                  </a:cubicBezTo>
                  <a:close/>
                  <a:moveTo>
                    <a:pt x="738988" y="0"/>
                  </a:moveTo>
                  <a:cubicBezTo>
                    <a:pt x="738988" y="0"/>
                    <a:pt x="738988" y="0"/>
                    <a:pt x="762664" y="0"/>
                  </a:cubicBezTo>
                  <a:cubicBezTo>
                    <a:pt x="762664" y="0"/>
                    <a:pt x="762664" y="0"/>
                    <a:pt x="953500" y="0"/>
                  </a:cubicBezTo>
                  <a:cubicBezTo>
                    <a:pt x="957087" y="0"/>
                    <a:pt x="959239" y="4279"/>
                    <a:pt x="956370" y="7131"/>
                  </a:cubicBezTo>
                  <a:cubicBezTo>
                    <a:pt x="956370" y="7131"/>
                    <a:pt x="956370" y="7131"/>
                    <a:pt x="907584" y="55620"/>
                  </a:cubicBezTo>
                  <a:cubicBezTo>
                    <a:pt x="906149" y="57046"/>
                    <a:pt x="906149" y="59898"/>
                    <a:pt x="907584" y="61325"/>
                  </a:cubicBezTo>
                  <a:cubicBezTo>
                    <a:pt x="907584" y="61325"/>
                    <a:pt x="907584" y="61325"/>
                    <a:pt x="956370" y="109814"/>
                  </a:cubicBezTo>
                  <a:cubicBezTo>
                    <a:pt x="959239" y="112666"/>
                    <a:pt x="957087" y="116944"/>
                    <a:pt x="953500" y="116944"/>
                  </a:cubicBezTo>
                  <a:cubicBezTo>
                    <a:pt x="953500" y="116944"/>
                    <a:pt x="953500" y="116944"/>
                    <a:pt x="770555" y="116944"/>
                  </a:cubicBezTo>
                  <a:cubicBezTo>
                    <a:pt x="768403" y="116944"/>
                    <a:pt x="766968" y="118371"/>
                    <a:pt x="766968" y="120510"/>
                  </a:cubicBezTo>
                  <a:cubicBezTo>
                    <a:pt x="766968" y="120510"/>
                    <a:pt x="766968" y="120510"/>
                    <a:pt x="766968" y="214636"/>
                  </a:cubicBezTo>
                  <a:cubicBezTo>
                    <a:pt x="766968" y="214636"/>
                    <a:pt x="766968" y="214636"/>
                    <a:pt x="761946" y="211070"/>
                  </a:cubicBezTo>
                  <a:cubicBezTo>
                    <a:pt x="756924" y="206792"/>
                    <a:pt x="748315" y="206792"/>
                    <a:pt x="743293" y="211070"/>
                  </a:cubicBezTo>
                  <a:cubicBezTo>
                    <a:pt x="743293" y="211070"/>
                    <a:pt x="743293" y="211070"/>
                    <a:pt x="735401" y="217488"/>
                  </a:cubicBezTo>
                  <a:cubicBezTo>
                    <a:pt x="735401" y="217488"/>
                    <a:pt x="735401" y="217488"/>
                    <a:pt x="735401" y="116944"/>
                  </a:cubicBezTo>
                  <a:cubicBezTo>
                    <a:pt x="735401" y="116944"/>
                    <a:pt x="735401" y="116944"/>
                    <a:pt x="735401" y="4279"/>
                  </a:cubicBezTo>
                  <a:cubicBezTo>
                    <a:pt x="735401" y="2139"/>
                    <a:pt x="736836" y="0"/>
                    <a:pt x="73898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69" name="ee4pContent1">
            <a:extLst>
              <a:ext uri="{FF2B5EF4-FFF2-40B4-BE49-F238E27FC236}">
                <a16:creationId xmlns:a16="http://schemas.microsoft.com/office/drawing/2014/main" id="{B76EB2D6-57A3-4703-AAD9-00B7BA2F2B4A}"/>
              </a:ext>
            </a:extLst>
          </p:cNvPr>
          <p:cNvSpPr txBox="1"/>
          <p:nvPr/>
        </p:nvSpPr>
        <p:spPr>
          <a:xfrm>
            <a:off x="795280" y="4140227"/>
            <a:ext cx="3245598" cy="180049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buClr>
                <a:srgbClr val="12284C"/>
              </a:buClr>
              <a:buSzPct val="100000"/>
              <a:buFont typeface="Trebuchet MS" panose="020B0603020202020204" pitchFamily="34" charset="0"/>
              <a:buChar char="​"/>
              <a:defRPr sz="1200">
                <a:solidFill>
                  <a:srgbClr val="12284C"/>
                </a:solidFill>
              </a:defRPr>
            </a:lvl1pPr>
            <a:lvl2pPr marL="324000" lvl="1" indent="-216000">
              <a:buClr>
                <a:srgbClr val="12284C"/>
              </a:buClr>
              <a:buSzPct val="100000"/>
              <a:buFont typeface="Trebuchet MS" panose="020B0603020202020204" pitchFamily="34" charset="0"/>
              <a:buChar char="•"/>
              <a:defRPr sz="1200">
                <a:solidFill>
                  <a:srgbClr val="12284C"/>
                </a:solidFill>
              </a:defRPr>
            </a:lvl2pPr>
            <a:lvl3pPr marL="648000" lvl="2" indent="-216000">
              <a:buClr>
                <a:srgbClr val="12284C"/>
              </a:buClr>
              <a:buSzPct val="100000"/>
              <a:buFont typeface="Trebuchet MS" panose="020B0603020202020204" pitchFamily="34" charset="0"/>
              <a:buChar char="–"/>
              <a:defRPr sz="1200">
                <a:solidFill>
                  <a:srgbClr val="12284C"/>
                </a:solidFill>
              </a:defRPr>
            </a:lvl3pPr>
            <a:lvl4pPr marL="0" lvl="3">
              <a:buClr>
                <a:srgbClr val="12284C"/>
              </a:buClr>
              <a:buSzPct val="100000"/>
              <a:buFont typeface="Trebuchet MS" panose="020B0603020202020204" pitchFamily="34" charset="0"/>
              <a:buChar char="​"/>
              <a:defRPr sz="1600" b="1">
                <a:solidFill>
                  <a:srgbClr val="12284C"/>
                </a:solidFill>
              </a:defRPr>
            </a:lvl4pPr>
            <a:lvl5pPr marL="0" lvl="4">
              <a:buClr>
                <a:srgbClr val="12284C"/>
              </a:buClr>
              <a:buSzPct val="100000"/>
              <a:buFont typeface="Trebuchet MS" panose="020B0603020202020204" pitchFamily="34" charset="0"/>
              <a:buChar char="​"/>
              <a:defRPr sz="1600" b="1">
                <a:solidFill>
                  <a:srgbClr val="12284C"/>
                </a:solidFill>
              </a:defRPr>
            </a:lvl5pPr>
            <a:lvl6pPr marL="324000" lvl="5" indent="-216000">
              <a:buClr>
                <a:srgbClr val="12284C"/>
              </a:buClr>
              <a:buSzPct val="100000"/>
              <a:buFont typeface="Trebuchet MS" panose="020B0603020202020204" pitchFamily="34" charset="0"/>
              <a:buChar char="•"/>
              <a:defRPr sz="1600">
                <a:solidFill>
                  <a:srgbClr val="12284C"/>
                </a:solidFill>
              </a:defRPr>
            </a:lvl6pPr>
            <a:lvl7pPr marL="0" lvl="6">
              <a:buClr>
                <a:srgbClr val="12284C"/>
              </a:buClr>
              <a:buSzPct val="100000"/>
              <a:buFont typeface="Trebuchet MS" panose="020B0603020202020204" pitchFamily="34" charset="0"/>
              <a:buChar char="​"/>
              <a:defRPr sz="4400">
                <a:solidFill>
                  <a:srgbClr val="12284C"/>
                </a:solidFill>
              </a:defRPr>
            </a:lvl7pPr>
            <a:lvl8pPr marL="0" lvl="7">
              <a:buClr>
                <a:srgbClr val="12284C"/>
              </a:buClr>
              <a:buSzPct val="100000"/>
              <a:buFont typeface="Trebuchet MS" panose="020B0603020202020204" pitchFamily="34" charset="0"/>
              <a:buChar char="​"/>
              <a:defRPr sz="5400" b="1">
                <a:solidFill>
                  <a:srgbClr val="12284C"/>
                </a:solidFill>
              </a:defRPr>
            </a:lvl8pPr>
            <a:lvl9pPr marL="0" lvl="8">
              <a:buClr>
                <a:srgbClr val="12284C"/>
              </a:buClr>
              <a:buSzPct val="100000"/>
              <a:buFont typeface="Trebuchet MS" panose="020B0603020202020204" pitchFamily="34" charset="0"/>
              <a:buChar char="​"/>
              <a:defRPr sz="2400" b="1">
                <a:solidFill>
                  <a:srgbClr val="12284C"/>
                </a:solidFill>
              </a:defRPr>
            </a:lvl9pPr>
          </a:lstStyle>
          <a:p>
            <a:pPr marL="486000" lvl="1" indent="-324000">
              <a:spcAft>
                <a:spcPts val="600"/>
              </a:spcAft>
            </a:pPr>
            <a:r>
              <a:rPr lang="en-US" sz="1600" dirty="0">
                <a:solidFill>
                  <a:srgbClr val="54565A"/>
                </a:solidFill>
                <a:latin typeface="Open Sans" panose="020B0606030504020204" pitchFamily="34" charset="0"/>
              </a:rPr>
              <a:t>Expenditures address a demonstrated, incremental </a:t>
            </a:r>
            <a:r>
              <a:rPr lang="en-US" sz="1600" b="1" dirty="0">
                <a:solidFill>
                  <a:srgbClr val="54565A"/>
                </a:solidFill>
                <a:latin typeface="Open Sans" panose="020B0606030504020204" pitchFamily="34" charset="0"/>
              </a:rPr>
              <a:t>COVID-19 need</a:t>
            </a:r>
          </a:p>
          <a:p>
            <a:pPr marL="486000" lvl="1" indent="-324000">
              <a:spcAft>
                <a:spcPts val="600"/>
              </a:spcAft>
            </a:pPr>
            <a:r>
              <a:rPr lang="en-US" sz="1600" dirty="0">
                <a:solidFill>
                  <a:srgbClr val="54565A"/>
                </a:solidFill>
                <a:latin typeface="Open Sans" panose="020B0606030504020204" pitchFamily="34" charset="0"/>
              </a:rPr>
              <a:t>Funds are applied in a </a:t>
            </a:r>
            <a:r>
              <a:rPr lang="en-US" sz="1600" b="1" dirty="0">
                <a:solidFill>
                  <a:srgbClr val="54565A"/>
                </a:solidFill>
                <a:latin typeface="Open Sans" panose="020B0606030504020204" pitchFamily="34" charset="0"/>
              </a:rPr>
              <a:t>non-duplicative manner </a:t>
            </a:r>
            <a:r>
              <a:rPr lang="en-US" sz="1600" dirty="0">
                <a:solidFill>
                  <a:srgbClr val="54565A"/>
                </a:solidFill>
                <a:latin typeface="Open Sans" panose="020B0606030504020204" pitchFamily="34" charset="0"/>
              </a:rPr>
              <a:t>compared to other federal COVID-19 funding</a:t>
            </a:r>
          </a:p>
        </p:txBody>
      </p:sp>
      <p:sp>
        <p:nvSpPr>
          <p:cNvPr id="70" name="ee4pContent1">
            <a:extLst>
              <a:ext uri="{FF2B5EF4-FFF2-40B4-BE49-F238E27FC236}">
                <a16:creationId xmlns:a16="http://schemas.microsoft.com/office/drawing/2014/main" id="{9D77847A-7AF7-40CE-8A81-9821A0892695}"/>
              </a:ext>
            </a:extLst>
          </p:cNvPr>
          <p:cNvSpPr txBox="1"/>
          <p:nvPr/>
        </p:nvSpPr>
        <p:spPr>
          <a:xfrm>
            <a:off x="1309686" y="3620072"/>
            <a:ext cx="2216787" cy="36933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buClr>
                <a:srgbClr val="12284C"/>
              </a:buClr>
              <a:buSzPct val="100000"/>
              <a:buFont typeface="Trebuchet MS" panose="020B0603020202020204" pitchFamily="34" charset="0"/>
              <a:buChar char="​"/>
              <a:defRPr sz="1200">
                <a:solidFill>
                  <a:srgbClr val="12284C"/>
                </a:solidFill>
              </a:defRPr>
            </a:lvl1pPr>
            <a:lvl2pPr marL="324000" lvl="1" indent="-216000">
              <a:buClr>
                <a:srgbClr val="12284C"/>
              </a:buClr>
              <a:buSzPct val="100000"/>
              <a:buFont typeface="Trebuchet MS" panose="020B0603020202020204" pitchFamily="34" charset="0"/>
              <a:buChar char="•"/>
              <a:defRPr sz="1200">
                <a:solidFill>
                  <a:srgbClr val="12284C"/>
                </a:solidFill>
              </a:defRPr>
            </a:lvl2pPr>
            <a:lvl3pPr marL="648000" lvl="2" indent="-216000">
              <a:buClr>
                <a:srgbClr val="12284C"/>
              </a:buClr>
              <a:buSzPct val="100000"/>
              <a:buFont typeface="Trebuchet MS" panose="020B0603020202020204" pitchFamily="34" charset="0"/>
              <a:buChar char="–"/>
              <a:defRPr sz="1200">
                <a:solidFill>
                  <a:srgbClr val="12284C"/>
                </a:solidFill>
              </a:defRPr>
            </a:lvl3pPr>
            <a:lvl4pPr marL="0" lvl="3">
              <a:buClr>
                <a:srgbClr val="12284C"/>
              </a:buClr>
              <a:buSzPct val="100000"/>
              <a:buFont typeface="Trebuchet MS" panose="020B0603020202020204" pitchFamily="34" charset="0"/>
              <a:buChar char="​"/>
              <a:defRPr sz="1600" b="1">
                <a:solidFill>
                  <a:srgbClr val="12284C"/>
                </a:solidFill>
              </a:defRPr>
            </a:lvl4pPr>
            <a:lvl5pPr marL="0" lvl="4">
              <a:buClr>
                <a:srgbClr val="12284C"/>
              </a:buClr>
              <a:buSzPct val="100000"/>
              <a:buFont typeface="Trebuchet MS" panose="020B0603020202020204" pitchFamily="34" charset="0"/>
              <a:buChar char="​"/>
              <a:defRPr sz="1600" b="1">
                <a:solidFill>
                  <a:srgbClr val="12284C"/>
                </a:solidFill>
              </a:defRPr>
            </a:lvl5pPr>
            <a:lvl6pPr marL="324000" lvl="5" indent="-216000">
              <a:buClr>
                <a:srgbClr val="12284C"/>
              </a:buClr>
              <a:buSzPct val="100000"/>
              <a:buFont typeface="Trebuchet MS" panose="020B0603020202020204" pitchFamily="34" charset="0"/>
              <a:buChar char="•"/>
              <a:defRPr sz="1600">
                <a:solidFill>
                  <a:srgbClr val="12284C"/>
                </a:solidFill>
              </a:defRPr>
            </a:lvl6pPr>
            <a:lvl7pPr marL="0" lvl="6">
              <a:buClr>
                <a:srgbClr val="12284C"/>
              </a:buClr>
              <a:buSzPct val="100000"/>
              <a:buFont typeface="Trebuchet MS" panose="020B0603020202020204" pitchFamily="34" charset="0"/>
              <a:buChar char="​"/>
              <a:defRPr sz="4400">
                <a:solidFill>
                  <a:srgbClr val="12284C"/>
                </a:solidFill>
              </a:defRPr>
            </a:lvl7pPr>
            <a:lvl8pPr marL="0" lvl="7">
              <a:buClr>
                <a:srgbClr val="12284C"/>
              </a:buClr>
              <a:buSzPct val="100000"/>
              <a:buFont typeface="Trebuchet MS" panose="020B0603020202020204" pitchFamily="34" charset="0"/>
              <a:buChar char="​"/>
              <a:defRPr sz="5400" b="1">
                <a:solidFill>
                  <a:srgbClr val="12284C"/>
                </a:solidFill>
              </a:defRPr>
            </a:lvl8pPr>
            <a:lvl9pPr marL="0" lvl="8">
              <a:buClr>
                <a:srgbClr val="12284C"/>
              </a:buClr>
              <a:buSzPct val="100000"/>
              <a:buFont typeface="Trebuchet MS" panose="020B0603020202020204" pitchFamily="34" charset="0"/>
              <a:buChar char="​"/>
              <a:defRPr sz="2400" b="1">
                <a:solidFill>
                  <a:srgbClr val="12284C"/>
                </a:solidFill>
              </a:defRPr>
            </a:lvl9pPr>
          </a:lstStyle>
          <a:p>
            <a:pPr algn="ctr"/>
            <a:r>
              <a:rPr lang="en-US" sz="2400" b="1" dirty="0">
                <a:solidFill>
                  <a:srgbClr val="FFA400"/>
                </a:solidFill>
              </a:rPr>
              <a:t>Necessary</a:t>
            </a:r>
            <a:endParaRPr lang="en-US" sz="2400" dirty="0">
              <a:solidFill>
                <a:srgbClr val="FFA400"/>
              </a:solidFill>
              <a:latin typeface="Open Sans" panose="020B0606030504020204" pitchFamily="34" charset="0"/>
            </a:endParaRPr>
          </a:p>
        </p:txBody>
      </p:sp>
      <p:sp>
        <p:nvSpPr>
          <p:cNvPr id="72" name="ee4pContent1">
            <a:extLst>
              <a:ext uri="{FF2B5EF4-FFF2-40B4-BE49-F238E27FC236}">
                <a16:creationId xmlns:a16="http://schemas.microsoft.com/office/drawing/2014/main" id="{3593CACF-332F-4114-A41C-C2B3F031B252}"/>
              </a:ext>
            </a:extLst>
          </p:cNvPr>
          <p:cNvSpPr txBox="1"/>
          <p:nvPr/>
        </p:nvSpPr>
        <p:spPr>
          <a:xfrm>
            <a:off x="5039267" y="3620072"/>
            <a:ext cx="2216787" cy="36933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buClr>
                <a:srgbClr val="12284C"/>
              </a:buClr>
              <a:buSzPct val="100000"/>
              <a:buFont typeface="Trebuchet MS" panose="020B0603020202020204" pitchFamily="34" charset="0"/>
              <a:buChar char="​"/>
              <a:defRPr sz="1200">
                <a:solidFill>
                  <a:srgbClr val="12284C"/>
                </a:solidFill>
              </a:defRPr>
            </a:lvl1pPr>
            <a:lvl2pPr marL="324000" lvl="1" indent="-216000">
              <a:buClr>
                <a:srgbClr val="12284C"/>
              </a:buClr>
              <a:buSzPct val="100000"/>
              <a:buFont typeface="Trebuchet MS" panose="020B0603020202020204" pitchFamily="34" charset="0"/>
              <a:buChar char="•"/>
              <a:defRPr sz="1200">
                <a:solidFill>
                  <a:srgbClr val="12284C"/>
                </a:solidFill>
              </a:defRPr>
            </a:lvl2pPr>
            <a:lvl3pPr marL="648000" lvl="2" indent="-216000">
              <a:buClr>
                <a:srgbClr val="12284C"/>
              </a:buClr>
              <a:buSzPct val="100000"/>
              <a:buFont typeface="Trebuchet MS" panose="020B0603020202020204" pitchFamily="34" charset="0"/>
              <a:buChar char="–"/>
              <a:defRPr sz="1200">
                <a:solidFill>
                  <a:srgbClr val="12284C"/>
                </a:solidFill>
              </a:defRPr>
            </a:lvl3pPr>
            <a:lvl4pPr marL="0" lvl="3">
              <a:buClr>
                <a:srgbClr val="12284C"/>
              </a:buClr>
              <a:buSzPct val="100000"/>
              <a:buFont typeface="Trebuchet MS" panose="020B0603020202020204" pitchFamily="34" charset="0"/>
              <a:buChar char="​"/>
              <a:defRPr sz="1600" b="1">
                <a:solidFill>
                  <a:srgbClr val="12284C"/>
                </a:solidFill>
              </a:defRPr>
            </a:lvl4pPr>
            <a:lvl5pPr marL="0" lvl="4">
              <a:buClr>
                <a:srgbClr val="12284C"/>
              </a:buClr>
              <a:buSzPct val="100000"/>
              <a:buFont typeface="Trebuchet MS" panose="020B0603020202020204" pitchFamily="34" charset="0"/>
              <a:buChar char="​"/>
              <a:defRPr sz="1600" b="1">
                <a:solidFill>
                  <a:srgbClr val="12284C"/>
                </a:solidFill>
              </a:defRPr>
            </a:lvl5pPr>
            <a:lvl6pPr marL="324000" lvl="5" indent="-216000">
              <a:buClr>
                <a:srgbClr val="12284C"/>
              </a:buClr>
              <a:buSzPct val="100000"/>
              <a:buFont typeface="Trebuchet MS" panose="020B0603020202020204" pitchFamily="34" charset="0"/>
              <a:buChar char="•"/>
              <a:defRPr sz="1600">
                <a:solidFill>
                  <a:srgbClr val="12284C"/>
                </a:solidFill>
              </a:defRPr>
            </a:lvl6pPr>
            <a:lvl7pPr marL="0" lvl="6">
              <a:buClr>
                <a:srgbClr val="12284C"/>
              </a:buClr>
              <a:buSzPct val="100000"/>
              <a:buFont typeface="Trebuchet MS" panose="020B0603020202020204" pitchFamily="34" charset="0"/>
              <a:buChar char="​"/>
              <a:defRPr sz="4400">
                <a:solidFill>
                  <a:srgbClr val="12284C"/>
                </a:solidFill>
              </a:defRPr>
            </a:lvl7pPr>
            <a:lvl8pPr marL="0" lvl="7">
              <a:buClr>
                <a:srgbClr val="12284C"/>
              </a:buClr>
              <a:buSzPct val="100000"/>
              <a:buFont typeface="Trebuchet MS" panose="020B0603020202020204" pitchFamily="34" charset="0"/>
              <a:buChar char="​"/>
              <a:defRPr sz="5400" b="1">
                <a:solidFill>
                  <a:srgbClr val="12284C"/>
                </a:solidFill>
              </a:defRPr>
            </a:lvl8pPr>
            <a:lvl9pPr marL="0" lvl="8">
              <a:buClr>
                <a:srgbClr val="12284C"/>
              </a:buClr>
              <a:buSzPct val="100000"/>
              <a:buFont typeface="Trebuchet MS" panose="020B0603020202020204" pitchFamily="34" charset="0"/>
              <a:buChar char="​"/>
              <a:defRPr sz="2400" b="1">
                <a:solidFill>
                  <a:srgbClr val="12284C"/>
                </a:solidFill>
              </a:defRPr>
            </a:lvl9pPr>
          </a:lstStyle>
          <a:p>
            <a:pPr algn="ctr"/>
            <a:r>
              <a:rPr lang="en-US" sz="2400" b="1" dirty="0">
                <a:solidFill>
                  <a:srgbClr val="07B597"/>
                </a:solidFill>
              </a:rPr>
              <a:t>Allowable</a:t>
            </a:r>
            <a:endParaRPr lang="en-US" sz="2400" dirty="0">
              <a:solidFill>
                <a:srgbClr val="07B597"/>
              </a:solidFill>
              <a:latin typeface="Open Sans" panose="020B0606030504020204" pitchFamily="34" charset="0"/>
            </a:endParaRPr>
          </a:p>
        </p:txBody>
      </p:sp>
      <p:sp>
        <p:nvSpPr>
          <p:cNvPr id="77" name="ee4pContent1">
            <a:extLst>
              <a:ext uri="{FF2B5EF4-FFF2-40B4-BE49-F238E27FC236}">
                <a16:creationId xmlns:a16="http://schemas.microsoft.com/office/drawing/2014/main" id="{C8009714-21E6-4393-9FE7-CF0D6FD889B0}"/>
              </a:ext>
            </a:extLst>
          </p:cNvPr>
          <p:cNvSpPr txBox="1"/>
          <p:nvPr/>
        </p:nvSpPr>
        <p:spPr>
          <a:xfrm>
            <a:off x="8665527" y="3620072"/>
            <a:ext cx="2216787" cy="36933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buClr>
                <a:srgbClr val="12284C"/>
              </a:buClr>
              <a:buSzPct val="100000"/>
              <a:buFont typeface="Trebuchet MS" panose="020B0603020202020204" pitchFamily="34" charset="0"/>
              <a:buChar char="​"/>
              <a:defRPr sz="1200">
                <a:solidFill>
                  <a:srgbClr val="12284C"/>
                </a:solidFill>
              </a:defRPr>
            </a:lvl1pPr>
            <a:lvl2pPr marL="324000" lvl="1" indent="-216000">
              <a:buClr>
                <a:srgbClr val="12284C"/>
              </a:buClr>
              <a:buSzPct val="100000"/>
              <a:buFont typeface="Trebuchet MS" panose="020B0603020202020204" pitchFamily="34" charset="0"/>
              <a:buChar char="•"/>
              <a:defRPr sz="1200">
                <a:solidFill>
                  <a:srgbClr val="12284C"/>
                </a:solidFill>
              </a:defRPr>
            </a:lvl2pPr>
            <a:lvl3pPr marL="648000" lvl="2" indent="-216000">
              <a:buClr>
                <a:srgbClr val="12284C"/>
              </a:buClr>
              <a:buSzPct val="100000"/>
              <a:buFont typeface="Trebuchet MS" panose="020B0603020202020204" pitchFamily="34" charset="0"/>
              <a:buChar char="–"/>
              <a:defRPr sz="1200">
                <a:solidFill>
                  <a:srgbClr val="12284C"/>
                </a:solidFill>
              </a:defRPr>
            </a:lvl3pPr>
            <a:lvl4pPr marL="0" lvl="3">
              <a:buClr>
                <a:srgbClr val="12284C"/>
              </a:buClr>
              <a:buSzPct val="100000"/>
              <a:buFont typeface="Trebuchet MS" panose="020B0603020202020204" pitchFamily="34" charset="0"/>
              <a:buChar char="​"/>
              <a:defRPr sz="1600" b="1">
                <a:solidFill>
                  <a:srgbClr val="12284C"/>
                </a:solidFill>
              </a:defRPr>
            </a:lvl4pPr>
            <a:lvl5pPr marL="0" lvl="4">
              <a:buClr>
                <a:srgbClr val="12284C"/>
              </a:buClr>
              <a:buSzPct val="100000"/>
              <a:buFont typeface="Trebuchet MS" panose="020B0603020202020204" pitchFamily="34" charset="0"/>
              <a:buChar char="​"/>
              <a:defRPr sz="1600" b="1">
                <a:solidFill>
                  <a:srgbClr val="12284C"/>
                </a:solidFill>
              </a:defRPr>
            </a:lvl5pPr>
            <a:lvl6pPr marL="324000" lvl="5" indent="-216000">
              <a:buClr>
                <a:srgbClr val="12284C"/>
              </a:buClr>
              <a:buSzPct val="100000"/>
              <a:buFont typeface="Trebuchet MS" panose="020B0603020202020204" pitchFamily="34" charset="0"/>
              <a:buChar char="•"/>
              <a:defRPr sz="1600">
                <a:solidFill>
                  <a:srgbClr val="12284C"/>
                </a:solidFill>
              </a:defRPr>
            </a:lvl6pPr>
            <a:lvl7pPr marL="0" lvl="6">
              <a:buClr>
                <a:srgbClr val="12284C"/>
              </a:buClr>
              <a:buSzPct val="100000"/>
              <a:buFont typeface="Trebuchet MS" panose="020B0603020202020204" pitchFamily="34" charset="0"/>
              <a:buChar char="​"/>
              <a:defRPr sz="4400">
                <a:solidFill>
                  <a:srgbClr val="12284C"/>
                </a:solidFill>
              </a:defRPr>
            </a:lvl7pPr>
            <a:lvl8pPr marL="0" lvl="7">
              <a:buClr>
                <a:srgbClr val="12284C"/>
              </a:buClr>
              <a:buSzPct val="100000"/>
              <a:buFont typeface="Trebuchet MS" panose="020B0603020202020204" pitchFamily="34" charset="0"/>
              <a:buChar char="​"/>
              <a:defRPr sz="5400" b="1">
                <a:solidFill>
                  <a:srgbClr val="12284C"/>
                </a:solidFill>
              </a:defRPr>
            </a:lvl8pPr>
            <a:lvl9pPr marL="0" lvl="8">
              <a:buClr>
                <a:srgbClr val="12284C"/>
              </a:buClr>
              <a:buSzPct val="100000"/>
              <a:buFont typeface="Trebuchet MS" panose="020B0603020202020204" pitchFamily="34" charset="0"/>
              <a:buChar char="​"/>
              <a:defRPr sz="2400" b="1">
                <a:solidFill>
                  <a:srgbClr val="12284C"/>
                </a:solidFill>
              </a:defRPr>
            </a:lvl9pPr>
          </a:lstStyle>
          <a:p>
            <a:pPr algn="ctr"/>
            <a:r>
              <a:rPr lang="en-US" sz="2400" b="1" dirty="0">
                <a:solidFill>
                  <a:srgbClr val="005487"/>
                </a:solidFill>
              </a:rPr>
              <a:t>Reasonable</a:t>
            </a:r>
            <a:endParaRPr lang="en-US" sz="2400" dirty="0">
              <a:solidFill>
                <a:srgbClr val="005487"/>
              </a:solidFill>
              <a:latin typeface="Open Sans" panose="020B0606030504020204" pitchFamily="34" charset="0"/>
            </a:endParaRPr>
          </a:p>
        </p:txBody>
      </p:sp>
      <p:sp>
        <p:nvSpPr>
          <p:cNvPr id="79" name="ee4pContent1">
            <a:extLst>
              <a:ext uri="{FF2B5EF4-FFF2-40B4-BE49-F238E27FC236}">
                <a16:creationId xmlns:a16="http://schemas.microsoft.com/office/drawing/2014/main" id="{00FCC7D6-F6ED-4EA4-A4CE-AD781DA0BDE1}"/>
              </a:ext>
            </a:extLst>
          </p:cNvPr>
          <p:cNvSpPr txBox="1"/>
          <p:nvPr/>
        </p:nvSpPr>
        <p:spPr>
          <a:xfrm>
            <a:off x="4473201" y="4140227"/>
            <a:ext cx="3245598" cy="98488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buClr>
                <a:srgbClr val="12284C"/>
              </a:buClr>
              <a:buSzPct val="100000"/>
              <a:buFont typeface="Trebuchet MS" panose="020B0603020202020204" pitchFamily="34" charset="0"/>
              <a:buChar char="​"/>
              <a:defRPr sz="1200">
                <a:solidFill>
                  <a:srgbClr val="12284C"/>
                </a:solidFill>
              </a:defRPr>
            </a:lvl1pPr>
            <a:lvl2pPr marL="324000" lvl="1" indent="-216000">
              <a:buClr>
                <a:srgbClr val="12284C"/>
              </a:buClr>
              <a:buSzPct val="100000"/>
              <a:buFont typeface="Trebuchet MS" panose="020B0603020202020204" pitchFamily="34" charset="0"/>
              <a:buChar char="•"/>
              <a:defRPr sz="1200">
                <a:solidFill>
                  <a:srgbClr val="12284C"/>
                </a:solidFill>
              </a:defRPr>
            </a:lvl2pPr>
            <a:lvl3pPr marL="648000" lvl="2" indent="-216000">
              <a:buClr>
                <a:srgbClr val="12284C"/>
              </a:buClr>
              <a:buSzPct val="100000"/>
              <a:buFont typeface="Trebuchet MS" panose="020B0603020202020204" pitchFamily="34" charset="0"/>
              <a:buChar char="–"/>
              <a:defRPr sz="1200">
                <a:solidFill>
                  <a:srgbClr val="12284C"/>
                </a:solidFill>
              </a:defRPr>
            </a:lvl3pPr>
            <a:lvl4pPr marL="0" lvl="3">
              <a:buClr>
                <a:srgbClr val="12284C"/>
              </a:buClr>
              <a:buSzPct val="100000"/>
              <a:buFont typeface="Trebuchet MS" panose="020B0603020202020204" pitchFamily="34" charset="0"/>
              <a:buChar char="​"/>
              <a:defRPr sz="1600" b="1">
                <a:solidFill>
                  <a:srgbClr val="12284C"/>
                </a:solidFill>
              </a:defRPr>
            </a:lvl4pPr>
            <a:lvl5pPr marL="0" lvl="4">
              <a:buClr>
                <a:srgbClr val="12284C"/>
              </a:buClr>
              <a:buSzPct val="100000"/>
              <a:buFont typeface="Trebuchet MS" panose="020B0603020202020204" pitchFamily="34" charset="0"/>
              <a:buChar char="​"/>
              <a:defRPr sz="1600" b="1">
                <a:solidFill>
                  <a:srgbClr val="12284C"/>
                </a:solidFill>
              </a:defRPr>
            </a:lvl5pPr>
            <a:lvl6pPr marL="324000" lvl="5" indent="-216000">
              <a:buClr>
                <a:srgbClr val="12284C"/>
              </a:buClr>
              <a:buSzPct val="100000"/>
              <a:buFont typeface="Trebuchet MS" panose="020B0603020202020204" pitchFamily="34" charset="0"/>
              <a:buChar char="•"/>
              <a:defRPr sz="1600">
                <a:solidFill>
                  <a:srgbClr val="12284C"/>
                </a:solidFill>
              </a:defRPr>
            </a:lvl6pPr>
            <a:lvl7pPr marL="0" lvl="6">
              <a:buClr>
                <a:srgbClr val="12284C"/>
              </a:buClr>
              <a:buSzPct val="100000"/>
              <a:buFont typeface="Trebuchet MS" panose="020B0603020202020204" pitchFamily="34" charset="0"/>
              <a:buChar char="​"/>
              <a:defRPr sz="4400">
                <a:solidFill>
                  <a:srgbClr val="12284C"/>
                </a:solidFill>
              </a:defRPr>
            </a:lvl7pPr>
            <a:lvl8pPr marL="0" lvl="7">
              <a:buClr>
                <a:srgbClr val="12284C"/>
              </a:buClr>
              <a:buSzPct val="100000"/>
              <a:buFont typeface="Trebuchet MS" panose="020B0603020202020204" pitchFamily="34" charset="0"/>
              <a:buChar char="​"/>
              <a:defRPr sz="5400" b="1">
                <a:solidFill>
                  <a:srgbClr val="12284C"/>
                </a:solidFill>
              </a:defRPr>
            </a:lvl8pPr>
            <a:lvl9pPr marL="0" lvl="8">
              <a:buClr>
                <a:srgbClr val="12284C"/>
              </a:buClr>
              <a:buSzPct val="100000"/>
              <a:buFont typeface="Trebuchet MS" panose="020B0603020202020204" pitchFamily="34" charset="0"/>
              <a:buChar char="​"/>
              <a:defRPr sz="2400" b="1">
                <a:solidFill>
                  <a:srgbClr val="12284C"/>
                </a:solidFill>
              </a:defRPr>
            </a:lvl9pPr>
          </a:lstStyle>
          <a:p>
            <a:pPr marL="486000" lvl="1" indent="-324000"/>
            <a:r>
              <a:rPr lang="en-US" sz="1600" dirty="0">
                <a:solidFill>
                  <a:srgbClr val="54565A"/>
                </a:solidFill>
                <a:latin typeface="Open Sans" panose="020B0606030504020204" pitchFamily="34" charset="0"/>
              </a:rPr>
              <a:t>Must be pandemic related</a:t>
            </a:r>
          </a:p>
          <a:p>
            <a:pPr marL="486000" lvl="1" indent="-324000"/>
            <a:r>
              <a:rPr lang="en-US" sz="1600" dirty="0">
                <a:solidFill>
                  <a:srgbClr val="54565A"/>
                </a:solidFill>
                <a:latin typeface="Open Sans" panose="020B0606030504020204" pitchFamily="34" charset="0"/>
              </a:rPr>
              <a:t>Proposed uses of funds fall within </a:t>
            </a:r>
            <a:r>
              <a:rPr lang="en-US" sz="1600" b="1" dirty="0">
                <a:solidFill>
                  <a:srgbClr val="54565A"/>
                </a:solidFill>
                <a:latin typeface="Open Sans" panose="020B0606030504020204" pitchFamily="34" charset="0"/>
              </a:rPr>
              <a:t>at least one of the 15 ESSER II allowable uses</a:t>
            </a:r>
          </a:p>
        </p:txBody>
      </p:sp>
      <p:sp>
        <p:nvSpPr>
          <p:cNvPr id="80" name="ee4pContent1">
            <a:extLst>
              <a:ext uri="{FF2B5EF4-FFF2-40B4-BE49-F238E27FC236}">
                <a16:creationId xmlns:a16="http://schemas.microsoft.com/office/drawing/2014/main" id="{AF57DC99-64A1-47CD-808D-2FAD2D68E412}"/>
              </a:ext>
            </a:extLst>
          </p:cNvPr>
          <p:cNvSpPr txBox="1"/>
          <p:nvPr/>
        </p:nvSpPr>
        <p:spPr>
          <a:xfrm>
            <a:off x="8151122" y="4140227"/>
            <a:ext cx="3245598" cy="123110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111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buClr>
                <a:srgbClr val="12284C"/>
              </a:buClr>
              <a:buSzPct val="100000"/>
              <a:buFont typeface="Trebuchet MS" panose="020B0603020202020204" pitchFamily="34" charset="0"/>
              <a:buChar char="​"/>
              <a:defRPr sz="1200">
                <a:solidFill>
                  <a:srgbClr val="12284C"/>
                </a:solidFill>
              </a:defRPr>
            </a:lvl1pPr>
            <a:lvl2pPr marL="324000" lvl="1" indent="-216000">
              <a:buClr>
                <a:srgbClr val="12284C"/>
              </a:buClr>
              <a:buSzPct val="100000"/>
              <a:buFont typeface="Trebuchet MS" panose="020B0603020202020204" pitchFamily="34" charset="0"/>
              <a:buChar char="•"/>
              <a:defRPr sz="1200">
                <a:solidFill>
                  <a:srgbClr val="12284C"/>
                </a:solidFill>
              </a:defRPr>
            </a:lvl2pPr>
            <a:lvl3pPr marL="648000" lvl="2" indent="-216000">
              <a:buClr>
                <a:srgbClr val="12284C"/>
              </a:buClr>
              <a:buSzPct val="100000"/>
              <a:buFont typeface="Trebuchet MS" panose="020B0603020202020204" pitchFamily="34" charset="0"/>
              <a:buChar char="–"/>
              <a:defRPr sz="1200">
                <a:solidFill>
                  <a:srgbClr val="12284C"/>
                </a:solidFill>
              </a:defRPr>
            </a:lvl3pPr>
            <a:lvl4pPr marL="0" lvl="3">
              <a:buClr>
                <a:srgbClr val="12284C"/>
              </a:buClr>
              <a:buSzPct val="100000"/>
              <a:buFont typeface="Trebuchet MS" panose="020B0603020202020204" pitchFamily="34" charset="0"/>
              <a:buChar char="​"/>
              <a:defRPr sz="1600" b="1">
                <a:solidFill>
                  <a:srgbClr val="12284C"/>
                </a:solidFill>
              </a:defRPr>
            </a:lvl4pPr>
            <a:lvl5pPr marL="0" lvl="4">
              <a:buClr>
                <a:srgbClr val="12284C"/>
              </a:buClr>
              <a:buSzPct val="100000"/>
              <a:buFont typeface="Trebuchet MS" panose="020B0603020202020204" pitchFamily="34" charset="0"/>
              <a:buChar char="​"/>
              <a:defRPr sz="1600" b="1">
                <a:solidFill>
                  <a:srgbClr val="12284C"/>
                </a:solidFill>
              </a:defRPr>
            </a:lvl5pPr>
            <a:lvl6pPr marL="324000" lvl="5" indent="-216000">
              <a:buClr>
                <a:srgbClr val="12284C"/>
              </a:buClr>
              <a:buSzPct val="100000"/>
              <a:buFont typeface="Trebuchet MS" panose="020B0603020202020204" pitchFamily="34" charset="0"/>
              <a:buChar char="•"/>
              <a:defRPr sz="1600">
                <a:solidFill>
                  <a:srgbClr val="12284C"/>
                </a:solidFill>
              </a:defRPr>
            </a:lvl6pPr>
            <a:lvl7pPr marL="0" lvl="6">
              <a:buClr>
                <a:srgbClr val="12284C"/>
              </a:buClr>
              <a:buSzPct val="100000"/>
              <a:buFont typeface="Trebuchet MS" panose="020B0603020202020204" pitchFamily="34" charset="0"/>
              <a:buChar char="​"/>
              <a:defRPr sz="4400">
                <a:solidFill>
                  <a:srgbClr val="12284C"/>
                </a:solidFill>
              </a:defRPr>
            </a:lvl7pPr>
            <a:lvl8pPr marL="0" lvl="7">
              <a:buClr>
                <a:srgbClr val="12284C"/>
              </a:buClr>
              <a:buSzPct val="100000"/>
              <a:buFont typeface="Trebuchet MS" panose="020B0603020202020204" pitchFamily="34" charset="0"/>
              <a:buChar char="​"/>
              <a:defRPr sz="5400" b="1">
                <a:solidFill>
                  <a:srgbClr val="12284C"/>
                </a:solidFill>
              </a:defRPr>
            </a:lvl8pPr>
            <a:lvl9pPr marL="0" lvl="8">
              <a:buClr>
                <a:srgbClr val="12284C"/>
              </a:buClr>
              <a:buSzPct val="100000"/>
              <a:buFont typeface="Trebuchet MS" panose="020B0603020202020204" pitchFamily="34" charset="0"/>
              <a:buChar char="​"/>
              <a:defRPr sz="2400" b="1">
                <a:solidFill>
                  <a:srgbClr val="12284C"/>
                </a:solidFill>
              </a:defRPr>
            </a:lvl9pPr>
          </a:lstStyle>
          <a:p>
            <a:pPr marL="486000" lvl="1" indent="-324000"/>
            <a:r>
              <a:rPr lang="en-US" sz="1600" dirty="0">
                <a:solidFill>
                  <a:srgbClr val="54565A"/>
                </a:solidFill>
                <a:latin typeface="Open Sans" panose="020B0606030504020204" pitchFamily="34" charset="0"/>
              </a:rPr>
              <a:t>The district's plan for ESSER II funds is </a:t>
            </a:r>
            <a:r>
              <a:rPr lang="en-US" sz="1600" b="1" dirty="0">
                <a:solidFill>
                  <a:srgbClr val="54565A"/>
                </a:solidFill>
                <a:latin typeface="Open Sans" panose="020B0606030504020204" pitchFamily="34" charset="0"/>
              </a:rPr>
              <a:t>sensical given district context </a:t>
            </a:r>
            <a:r>
              <a:rPr lang="en-US" sz="1600" dirty="0">
                <a:solidFill>
                  <a:srgbClr val="54565A"/>
                </a:solidFill>
                <a:latin typeface="Open Sans" panose="020B0606030504020204" pitchFamily="34" charset="0"/>
              </a:rPr>
              <a:t>(e.g., number of students, areas of demonstrated need)</a:t>
            </a:r>
          </a:p>
        </p:txBody>
      </p:sp>
    </p:spTree>
    <p:extLst>
      <p:ext uri="{BB962C8B-B14F-4D97-AF65-F5344CB8AC3E}">
        <p14:creationId xmlns:p14="http://schemas.microsoft.com/office/powerpoint/2010/main" val="1643728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dissolve">
                                      <p:cBhvr>
                                        <p:cTn id="10" dur="500"/>
                                        <p:tgtEl>
                                          <p:spTgt spid="70"/>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69"/>
                                        </p:tgtEl>
                                        <p:attrNameLst>
                                          <p:attrName>style.visibility</p:attrName>
                                        </p:attrNameLst>
                                      </p:cBhvr>
                                      <p:to>
                                        <p:strVal val="visible"/>
                                      </p:to>
                                    </p:set>
                                    <p:animEffect transition="in" filter="dissolve">
                                      <p:cBhvr>
                                        <p:cTn id="13" dur="500"/>
                                        <p:tgtEl>
                                          <p:spTgt spid="69"/>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dissolve">
                                      <p:cBhvr>
                                        <p:cTn id="18" dur="500"/>
                                        <p:tgtEl>
                                          <p:spTgt spid="45"/>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72"/>
                                        </p:tgtEl>
                                        <p:attrNameLst>
                                          <p:attrName>style.visibility</p:attrName>
                                        </p:attrNameLst>
                                      </p:cBhvr>
                                      <p:to>
                                        <p:strVal val="visible"/>
                                      </p:to>
                                    </p:set>
                                    <p:animEffect transition="in" filter="dissolve">
                                      <p:cBhvr>
                                        <p:cTn id="21" dur="500"/>
                                        <p:tgtEl>
                                          <p:spTgt spid="72"/>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79"/>
                                        </p:tgtEl>
                                        <p:attrNameLst>
                                          <p:attrName>style.visibility</p:attrName>
                                        </p:attrNameLst>
                                      </p:cBhvr>
                                      <p:to>
                                        <p:strVal val="visible"/>
                                      </p:to>
                                    </p:set>
                                    <p:animEffect transition="in" filter="dissolve">
                                      <p:cBhvr>
                                        <p:cTn id="24" dur="500"/>
                                        <p:tgtEl>
                                          <p:spTgt spid="79"/>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grpId="0" nodeType="clickEffect">
                                  <p:stCondLst>
                                    <p:cond delay="0"/>
                                  </p:stCondLst>
                                  <p:childTnLst>
                                    <p:set>
                                      <p:cBhvr>
                                        <p:cTn id="28" dur="1" fill="hold">
                                          <p:stCondLst>
                                            <p:cond delay="0"/>
                                          </p:stCondLst>
                                        </p:cTn>
                                        <p:tgtEl>
                                          <p:spTgt spid="46"/>
                                        </p:tgtEl>
                                        <p:attrNameLst>
                                          <p:attrName>style.visibility</p:attrName>
                                        </p:attrNameLst>
                                      </p:cBhvr>
                                      <p:to>
                                        <p:strVal val="visible"/>
                                      </p:to>
                                    </p:set>
                                    <p:animEffect transition="in" filter="dissolve">
                                      <p:cBhvr>
                                        <p:cTn id="29" dur="500"/>
                                        <p:tgtEl>
                                          <p:spTgt spid="46"/>
                                        </p:tgtEl>
                                      </p:cBhvr>
                                    </p:animEffect>
                                  </p:childTnLst>
                                </p:cTn>
                              </p:par>
                              <p:par>
                                <p:cTn id="30" presetID="9" presetClass="entr" presetSubtype="0" fill="hold"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dissolve">
                                      <p:cBhvr>
                                        <p:cTn id="32" dur="500"/>
                                        <p:tgtEl>
                                          <p:spTgt spid="53"/>
                                        </p:tgtEl>
                                      </p:cBhvr>
                                    </p:animEffect>
                                  </p:childTnLst>
                                </p:cTn>
                              </p:par>
                              <p:par>
                                <p:cTn id="33" presetID="9" presetClass="entr" presetSubtype="0" fill="hold" grpId="0" nodeType="withEffect">
                                  <p:stCondLst>
                                    <p:cond delay="0"/>
                                  </p:stCondLst>
                                  <p:childTnLst>
                                    <p:set>
                                      <p:cBhvr>
                                        <p:cTn id="34" dur="1" fill="hold">
                                          <p:stCondLst>
                                            <p:cond delay="0"/>
                                          </p:stCondLst>
                                        </p:cTn>
                                        <p:tgtEl>
                                          <p:spTgt spid="77"/>
                                        </p:tgtEl>
                                        <p:attrNameLst>
                                          <p:attrName>style.visibility</p:attrName>
                                        </p:attrNameLst>
                                      </p:cBhvr>
                                      <p:to>
                                        <p:strVal val="visible"/>
                                      </p:to>
                                    </p:set>
                                    <p:animEffect transition="in" filter="dissolve">
                                      <p:cBhvr>
                                        <p:cTn id="35" dur="500"/>
                                        <p:tgtEl>
                                          <p:spTgt spid="77"/>
                                        </p:tgtEl>
                                      </p:cBhvr>
                                    </p:animEffect>
                                  </p:childTnLst>
                                </p:cTn>
                              </p:par>
                              <p:par>
                                <p:cTn id="36" presetID="9" presetClass="entr" presetSubtype="0" fill="hold" grpId="0" nodeType="withEffect">
                                  <p:stCondLst>
                                    <p:cond delay="0"/>
                                  </p:stCondLst>
                                  <p:childTnLst>
                                    <p:set>
                                      <p:cBhvr>
                                        <p:cTn id="37" dur="1" fill="hold">
                                          <p:stCondLst>
                                            <p:cond delay="0"/>
                                          </p:stCondLst>
                                        </p:cTn>
                                        <p:tgtEl>
                                          <p:spTgt spid="80"/>
                                        </p:tgtEl>
                                        <p:attrNameLst>
                                          <p:attrName>style.visibility</p:attrName>
                                        </p:attrNameLst>
                                      </p:cBhvr>
                                      <p:to>
                                        <p:strVal val="visible"/>
                                      </p:to>
                                    </p:set>
                                    <p:animEffect transition="in" filter="dissolve">
                                      <p:cBhvr>
                                        <p:cTn id="38"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45" grpId="0" animBg="1"/>
      <p:bldP spid="46" grpId="0" animBg="1"/>
      <p:bldP spid="69" grpId="0"/>
      <p:bldP spid="70" grpId="0"/>
      <p:bldP spid="72" grpId="0"/>
      <p:bldP spid="77" grpId="0"/>
      <p:bldP spid="79" grpId="0"/>
      <p:bldP spid="8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B0BA80-AB8D-430B-9E3A-F2C2A5AA8C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3395"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3CB0BA80-AB8D-430B-9E3A-F2C2A5AA8C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3760BD-CB03-4687-BDF3-E9C13F2A4423}"/>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2" name="Title 1">
            <a:extLst>
              <a:ext uri="{FF2B5EF4-FFF2-40B4-BE49-F238E27FC236}">
                <a16:creationId xmlns:a16="http://schemas.microsoft.com/office/drawing/2014/main" id="{A6283C5D-06E3-4200-B782-97A854A0833B}"/>
              </a:ext>
            </a:extLst>
          </p:cNvPr>
          <p:cNvSpPr>
            <a:spLocks noGrp="1"/>
          </p:cNvSpPr>
          <p:nvPr>
            <p:ph type="title"/>
          </p:nvPr>
        </p:nvSpPr>
        <p:spPr>
          <a:xfrm>
            <a:off x="630000" y="466135"/>
            <a:ext cx="10933200" cy="941796"/>
          </a:xfrm>
        </p:spPr>
        <p:txBody>
          <a:bodyPr/>
          <a:lstStyle/>
          <a:p>
            <a:r>
              <a:rPr lang="en-US" dirty="0"/>
              <a:t>ESSER applications to be reviewed individually by both KSDE and Task Force</a:t>
            </a:r>
          </a:p>
        </p:txBody>
      </p:sp>
      <p:sp>
        <p:nvSpPr>
          <p:cNvPr id="6" name="Rectangle: Rounded Corners 5">
            <a:extLst>
              <a:ext uri="{FF2B5EF4-FFF2-40B4-BE49-F238E27FC236}">
                <a16:creationId xmlns:a16="http://schemas.microsoft.com/office/drawing/2014/main" id="{22063EDB-3976-4502-A4CB-15556CC6795A}"/>
              </a:ext>
            </a:extLst>
          </p:cNvPr>
          <p:cNvSpPr/>
          <p:nvPr/>
        </p:nvSpPr>
        <p:spPr>
          <a:xfrm>
            <a:off x="351495" y="2908943"/>
            <a:ext cx="1219355" cy="2428907"/>
          </a:xfrm>
          <a:prstGeom prst="roundRect">
            <a:avLst/>
          </a:prstGeom>
          <a:solidFill>
            <a:srgbClr val="F2F2F2"/>
          </a:solidFill>
          <a:ln w="9525" cap="rnd" cmpd="sng" algn="ctr">
            <a:solidFill>
              <a:srgbClr val="05193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ESSER application submitted to KSDE</a:t>
            </a:r>
          </a:p>
        </p:txBody>
      </p:sp>
      <p:sp>
        <p:nvSpPr>
          <p:cNvPr id="8" name="Oval 7">
            <a:extLst>
              <a:ext uri="{FF2B5EF4-FFF2-40B4-BE49-F238E27FC236}">
                <a16:creationId xmlns:a16="http://schemas.microsoft.com/office/drawing/2014/main" id="{44F0EBE4-68CC-4BC4-BBFA-69F3FCEA7105}"/>
              </a:ext>
            </a:extLst>
          </p:cNvPr>
          <p:cNvSpPr/>
          <p:nvPr/>
        </p:nvSpPr>
        <p:spPr>
          <a:xfrm>
            <a:off x="723004" y="2644524"/>
            <a:ext cx="481278" cy="481278"/>
          </a:xfrm>
          <a:prstGeom prst="ellipse">
            <a:avLst/>
          </a:prstGeom>
          <a:solidFill>
            <a:srgbClr val="FFFFFF"/>
          </a:solidFill>
          <a:ln w="19050" cap="rnd" cmpd="sng" algn="ctr">
            <a:solidFill>
              <a:srgbClr val="05193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9" name="Group 8">
            <a:extLst>
              <a:ext uri="{FF2B5EF4-FFF2-40B4-BE49-F238E27FC236}">
                <a16:creationId xmlns:a16="http://schemas.microsoft.com/office/drawing/2014/main" id="{7B3746E2-9C29-4C67-A8D4-40DAB640199C}"/>
              </a:ext>
            </a:extLst>
          </p:cNvPr>
          <p:cNvGrpSpPr>
            <a:grpSpLocks noChangeAspect="1"/>
          </p:cNvGrpSpPr>
          <p:nvPr/>
        </p:nvGrpSpPr>
        <p:grpSpPr>
          <a:xfrm>
            <a:off x="747099" y="2668619"/>
            <a:ext cx="433087" cy="433087"/>
            <a:chOff x="5273675" y="2606675"/>
            <a:chExt cx="1644650" cy="1644650"/>
          </a:xfrm>
        </p:grpSpPr>
        <p:sp>
          <p:nvSpPr>
            <p:cNvPr id="10" name="AutoShape 13">
              <a:extLst>
                <a:ext uri="{FF2B5EF4-FFF2-40B4-BE49-F238E27FC236}">
                  <a16:creationId xmlns:a16="http://schemas.microsoft.com/office/drawing/2014/main" id="{1BC206F9-6B1F-4171-99B6-DB97322692BD}"/>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nvGrpSpPr>
            <p:cNvPr id="11" name="Group 10">
              <a:extLst>
                <a:ext uri="{FF2B5EF4-FFF2-40B4-BE49-F238E27FC236}">
                  <a16:creationId xmlns:a16="http://schemas.microsoft.com/office/drawing/2014/main" id="{81FBE393-C6E9-40BB-A7FE-9209A544ECD8}"/>
                </a:ext>
              </a:extLst>
            </p:cNvPr>
            <p:cNvGrpSpPr/>
            <p:nvPr/>
          </p:nvGrpSpPr>
          <p:grpSpPr>
            <a:xfrm>
              <a:off x="5648325" y="2874963"/>
              <a:ext cx="895350" cy="1101725"/>
              <a:chOff x="5648325" y="2874963"/>
              <a:chExt cx="895350" cy="1101725"/>
            </a:xfrm>
          </p:grpSpPr>
          <p:sp>
            <p:nvSpPr>
              <p:cNvPr id="12" name="Freeform 15">
                <a:extLst>
                  <a:ext uri="{FF2B5EF4-FFF2-40B4-BE49-F238E27FC236}">
                    <a16:creationId xmlns:a16="http://schemas.microsoft.com/office/drawing/2014/main" id="{67EC33D5-19D2-4CDD-ABC8-4C9314398417}"/>
                  </a:ext>
                </a:extLst>
              </p:cNvPr>
              <p:cNvSpPr>
                <a:spLocks/>
              </p:cNvSpPr>
              <p:nvPr/>
            </p:nvSpPr>
            <p:spPr bwMode="auto">
              <a:xfrm>
                <a:off x="5894388" y="2874963"/>
                <a:ext cx="403225" cy="611188"/>
              </a:xfrm>
              <a:custGeom>
                <a:avLst/>
                <a:gdLst>
                  <a:gd name="T0" fmla="*/ 314 w 566"/>
                  <a:gd name="T1" fmla="*/ 13 h 857"/>
                  <a:gd name="T2" fmla="*/ 307 w 566"/>
                  <a:gd name="T3" fmla="*/ 7 h 857"/>
                  <a:gd name="T4" fmla="*/ 306 w 566"/>
                  <a:gd name="T5" fmla="*/ 7 h 857"/>
                  <a:gd name="T6" fmla="*/ 300 w 566"/>
                  <a:gd name="T7" fmla="*/ 3 h 857"/>
                  <a:gd name="T8" fmla="*/ 298 w 566"/>
                  <a:gd name="T9" fmla="*/ 3 h 857"/>
                  <a:gd name="T10" fmla="*/ 291 w 566"/>
                  <a:gd name="T11" fmla="*/ 1 h 857"/>
                  <a:gd name="T12" fmla="*/ 290 w 566"/>
                  <a:gd name="T13" fmla="*/ 1 h 857"/>
                  <a:gd name="T14" fmla="*/ 276 w 566"/>
                  <a:gd name="T15" fmla="*/ 1 h 857"/>
                  <a:gd name="T16" fmla="*/ 275 w 566"/>
                  <a:gd name="T17" fmla="*/ 1 h 857"/>
                  <a:gd name="T18" fmla="*/ 268 w 566"/>
                  <a:gd name="T19" fmla="*/ 3 h 857"/>
                  <a:gd name="T20" fmla="*/ 266 w 566"/>
                  <a:gd name="T21" fmla="*/ 3 h 857"/>
                  <a:gd name="T22" fmla="*/ 260 w 566"/>
                  <a:gd name="T23" fmla="*/ 7 h 857"/>
                  <a:gd name="T24" fmla="*/ 259 w 566"/>
                  <a:gd name="T25" fmla="*/ 7 h 857"/>
                  <a:gd name="T26" fmla="*/ 252 w 566"/>
                  <a:gd name="T27" fmla="*/ 13 h 857"/>
                  <a:gd name="T28" fmla="*/ 13 w 566"/>
                  <a:gd name="T29" fmla="*/ 253 h 857"/>
                  <a:gd name="T30" fmla="*/ 0 w 566"/>
                  <a:gd name="T31" fmla="*/ 283 h 857"/>
                  <a:gd name="T32" fmla="*/ 13 w 566"/>
                  <a:gd name="T33" fmla="*/ 314 h 857"/>
                  <a:gd name="T34" fmla="*/ 43 w 566"/>
                  <a:gd name="T35" fmla="*/ 326 h 857"/>
                  <a:gd name="T36" fmla="*/ 74 w 566"/>
                  <a:gd name="T37" fmla="*/ 314 h 857"/>
                  <a:gd name="T38" fmla="*/ 240 w 566"/>
                  <a:gd name="T39" fmla="*/ 147 h 857"/>
                  <a:gd name="T40" fmla="*/ 240 w 566"/>
                  <a:gd name="T41" fmla="*/ 489 h 857"/>
                  <a:gd name="T42" fmla="*/ 240 w 566"/>
                  <a:gd name="T43" fmla="*/ 555 h 857"/>
                  <a:gd name="T44" fmla="*/ 240 w 566"/>
                  <a:gd name="T45" fmla="*/ 814 h 857"/>
                  <a:gd name="T46" fmla="*/ 283 w 566"/>
                  <a:gd name="T47" fmla="*/ 857 h 857"/>
                  <a:gd name="T48" fmla="*/ 326 w 566"/>
                  <a:gd name="T49" fmla="*/ 814 h 857"/>
                  <a:gd name="T50" fmla="*/ 326 w 566"/>
                  <a:gd name="T51" fmla="*/ 555 h 857"/>
                  <a:gd name="T52" fmla="*/ 326 w 566"/>
                  <a:gd name="T53" fmla="*/ 489 h 857"/>
                  <a:gd name="T54" fmla="*/ 326 w 566"/>
                  <a:gd name="T55" fmla="*/ 147 h 857"/>
                  <a:gd name="T56" fmla="*/ 492 w 566"/>
                  <a:gd name="T57" fmla="*/ 314 h 857"/>
                  <a:gd name="T58" fmla="*/ 523 w 566"/>
                  <a:gd name="T59" fmla="*/ 326 h 857"/>
                  <a:gd name="T60" fmla="*/ 553 w 566"/>
                  <a:gd name="T61" fmla="*/ 314 h 857"/>
                  <a:gd name="T62" fmla="*/ 566 w 566"/>
                  <a:gd name="T63" fmla="*/ 283 h 857"/>
                  <a:gd name="T64" fmla="*/ 553 w 566"/>
                  <a:gd name="T65" fmla="*/ 253 h 857"/>
                  <a:gd name="T66" fmla="*/ 314 w 566"/>
                  <a:gd name="T67" fmla="*/ 13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6" h="857">
                    <a:moveTo>
                      <a:pt x="314" y="13"/>
                    </a:moveTo>
                    <a:cubicBezTo>
                      <a:pt x="312" y="11"/>
                      <a:pt x="310" y="9"/>
                      <a:pt x="307" y="7"/>
                    </a:cubicBezTo>
                    <a:cubicBezTo>
                      <a:pt x="306" y="7"/>
                      <a:pt x="306" y="7"/>
                      <a:pt x="306" y="7"/>
                    </a:cubicBezTo>
                    <a:cubicBezTo>
                      <a:pt x="304" y="5"/>
                      <a:pt x="302" y="4"/>
                      <a:pt x="300" y="3"/>
                    </a:cubicBezTo>
                    <a:cubicBezTo>
                      <a:pt x="298" y="3"/>
                      <a:pt x="298" y="3"/>
                      <a:pt x="298" y="3"/>
                    </a:cubicBezTo>
                    <a:cubicBezTo>
                      <a:pt x="296" y="2"/>
                      <a:pt x="294" y="1"/>
                      <a:pt x="291" y="1"/>
                    </a:cubicBezTo>
                    <a:cubicBezTo>
                      <a:pt x="290" y="1"/>
                      <a:pt x="290" y="1"/>
                      <a:pt x="290" y="1"/>
                    </a:cubicBezTo>
                    <a:cubicBezTo>
                      <a:pt x="286" y="0"/>
                      <a:pt x="280" y="0"/>
                      <a:pt x="276" y="1"/>
                    </a:cubicBezTo>
                    <a:cubicBezTo>
                      <a:pt x="275" y="1"/>
                      <a:pt x="275" y="1"/>
                      <a:pt x="275" y="1"/>
                    </a:cubicBezTo>
                    <a:cubicBezTo>
                      <a:pt x="272" y="1"/>
                      <a:pt x="270" y="2"/>
                      <a:pt x="268" y="3"/>
                    </a:cubicBezTo>
                    <a:cubicBezTo>
                      <a:pt x="266" y="3"/>
                      <a:pt x="266" y="3"/>
                      <a:pt x="266" y="3"/>
                    </a:cubicBezTo>
                    <a:cubicBezTo>
                      <a:pt x="264" y="4"/>
                      <a:pt x="262" y="5"/>
                      <a:pt x="260" y="7"/>
                    </a:cubicBezTo>
                    <a:cubicBezTo>
                      <a:pt x="259" y="7"/>
                      <a:pt x="259" y="7"/>
                      <a:pt x="259" y="7"/>
                    </a:cubicBezTo>
                    <a:cubicBezTo>
                      <a:pt x="256" y="9"/>
                      <a:pt x="254" y="11"/>
                      <a:pt x="252" y="13"/>
                    </a:cubicBezTo>
                    <a:cubicBezTo>
                      <a:pt x="13" y="253"/>
                      <a:pt x="13" y="253"/>
                      <a:pt x="13" y="253"/>
                    </a:cubicBezTo>
                    <a:cubicBezTo>
                      <a:pt x="4" y="261"/>
                      <a:pt x="0" y="272"/>
                      <a:pt x="0" y="283"/>
                    </a:cubicBezTo>
                    <a:cubicBezTo>
                      <a:pt x="0" y="295"/>
                      <a:pt x="4" y="305"/>
                      <a:pt x="13" y="314"/>
                    </a:cubicBezTo>
                    <a:cubicBezTo>
                      <a:pt x="21" y="322"/>
                      <a:pt x="32" y="326"/>
                      <a:pt x="43" y="326"/>
                    </a:cubicBezTo>
                    <a:cubicBezTo>
                      <a:pt x="55" y="326"/>
                      <a:pt x="65" y="322"/>
                      <a:pt x="74" y="314"/>
                    </a:cubicBezTo>
                    <a:cubicBezTo>
                      <a:pt x="240" y="147"/>
                      <a:pt x="240" y="147"/>
                      <a:pt x="240" y="147"/>
                    </a:cubicBezTo>
                    <a:cubicBezTo>
                      <a:pt x="240" y="489"/>
                      <a:pt x="240" y="489"/>
                      <a:pt x="240" y="489"/>
                    </a:cubicBezTo>
                    <a:cubicBezTo>
                      <a:pt x="240" y="555"/>
                      <a:pt x="240" y="555"/>
                      <a:pt x="240" y="555"/>
                    </a:cubicBezTo>
                    <a:cubicBezTo>
                      <a:pt x="240" y="814"/>
                      <a:pt x="240" y="814"/>
                      <a:pt x="240" y="814"/>
                    </a:cubicBezTo>
                    <a:cubicBezTo>
                      <a:pt x="240" y="838"/>
                      <a:pt x="259" y="857"/>
                      <a:pt x="283" y="857"/>
                    </a:cubicBezTo>
                    <a:cubicBezTo>
                      <a:pt x="307" y="857"/>
                      <a:pt x="326" y="838"/>
                      <a:pt x="326" y="814"/>
                    </a:cubicBezTo>
                    <a:cubicBezTo>
                      <a:pt x="326" y="555"/>
                      <a:pt x="326" y="555"/>
                      <a:pt x="326" y="555"/>
                    </a:cubicBezTo>
                    <a:cubicBezTo>
                      <a:pt x="326" y="489"/>
                      <a:pt x="326" y="489"/>
                      <a:pt x="326" y="489"/>
                    </a:cubicBezTo>
                    <a:cubicBezTo>
                      <a:pt x="326" y="147"/>
                      <a:pt x="326" y="147"/>
                      <a:pt x="326" y="147"/>
                    </a:cubicBezTo>
                    <a:cubicBezTo>
                      <a:pt x="492" y="314"/>
                      <a:pt x="492" y="314"/>
                      <a:pt x="492" y="314"/>
                    </a:cubicBezTo>
                    <a:cubicBezTo>
                      <a:pt x="501" y="322"/>
                      <a:pt x="511" y="326"/>
                      <a:pt x="523" y="326"/>
                    </a:cubicBezTo>
                    <a:cubicBezTo>
                      <a:pt x="534" y="326"/>
                      <a:pt x="545" y="322"/>
                      <a:pt x="553" y="314"/>
                    </a:cubicBezTo>
                    <a:cubicBezTo>
                      <a:pt x="562" y="305"/>
                      <a:pt x="566" y="295"/>
                      <a:pt x="566" y="283"/>
                    </a:cubicBezTo>
                    <a:cubicBezTo>
                      <a:pt x="566" y="272"/>
                      <a:pt x="562" y="261"/>
                      <a:pt x="553" y="253"/>
                    </a:cubicBezTo>
                    <a:lnTo>
                      <a:pt x="314" y="13"/>
                    </a:lnTo>
                    <a:close/>
                  </a:path>
                </a:pathLst>
              </a:custGeom>
              <a:solidFill>
                <a:srgbClr val="0A37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13" name="Freeform 16">
                <a:extLst>
                  <a:ext uri="{FF2B5EF4-FFF2-40B4-BE49-F238E27FC236}">
                    <a16:creationId xmlns:a16="http://schemas.microsoft.com/office/drawing/2014/main" id="{410ACE44-5FCA-4FEF-8A55-16DC9CC92CD2}"/>
                  </a:ext>
                </a:extLst>
              </p:cNvPr>
              <p:cNvSpPr>
                <a:spLocks/>
              </p:cNvSpPr>
              <p:nvPr/>
            </p:nvSpPr>
            <p:spPr bwMode="auto">
              <a:xfrm>
                <a:off x="5648325" y="3224213"/>
                <a:ext cx="895350" cy="752475"/>
              </a:xfrm>
              <a:custGeom>
                <a:avLst/>
                <a:gdLst>
                  <a:gd name="T0" fmla="*/ 1232 w 1254"/>
                  <a:gd name="T1" fmla="*/ 0 h 1056"/>
                  <a:gd name="T2" fmla="*/ 715 w 1254"/>
                  <a:gd name="T3" fmla="*/ 0 h 1056"/>
                  <a:gd name="T4" fmla="*/ 715 w 1254"/>
                  <a:gd name="T5" fmla="*/ 66 h 1056"/>
                  <a:gd name="T6" fmla="*/ 1188 w 1254"/>
                  <a:gd name="T7" fmla="*/ 66 h 1056"/>
                  <a:gd name="T8" fmla="*/ 1188 w 1254"/>
                  <a:gd name="T9" fmla="*/ 990 h 1056"/>
                  <a:gd name="T10" fmla="*/ 66 w 1254"/>
                  <a:gd name="T11" fmla="*/ 990 h 1056"/>
                  <a:gd name="T12" fmla="*/ 66 w 1254"/>
                  <a:gd name="T13" fmla="*/ 66 h 1056"/>
                  <a:gd name="T14" fmla="*/ 541 w 1254"/>
                  <a:gd name="T15" fmla="*/ 66 h 1056"/>
                  <a:gd name="T16" fmla="*/ 541 w 1254"/>
                  <a:gd name="T17" fmla="*/ 0 h 1056"/>
                  <a:gd name="T18" fmla="*/ 22 w 1254"/>
                  <a:gd name="T19" fmla="*/ 0 h 1056"/>
                  <a:gd name="T20" fmla="*/ 0 w 1254"/>
                  <a:gd name="T21" fmla="*/ 22 h 1056"/>
                  <a:gd name="T22" fmla="*/ 0 w 1254"/>
                  <a:gd name="T23" fmla="*/ 1034 h 1056"/>
                  <a:gd name="T24" fmla="*/ 22 w 1254"/>
                  <a:gd name="T25" fmla="*/ 1056 h 1056"/>
                  <a:gd name="T26" fmla="*/ 1232 w 1254"/>
                  <a:gd name="T27" fmla="*/ 1056 h 1056"/>
                  <a:gd name="T28" fmla="*/ 1254 w 1254"/>
                  <a:gd name="T29" fmla="*/ 1034 h 1056"/>
                  <a:gd name="T30" fmla="*/ 1254 w 1254"/>
                  <a:gd name="T31" fmla="*/ 22 h 1056"/>
                  <a:gd name="T32" fmla="*/ 1232 w 1254"/>
                  <a:gd name="T33" fmla="*/ 0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4" h="1056">
                    <a:moveTo>
                      <a:pt x="1232" y="0"/>
                    </a:moveTo>
                    <a:cubicBezTo>
                      <a:pt x="715" y="0"/>
                      <a:pt x="715" y="0"/>
                      <a:pt x="715" y="0"/>
                    </a:cubicBezTo>
                    <a:cubicBezTo>
                      <a:pt x="715" y="66"/>
                      <a:pt x="715" y="66"/>
                      <a:pt x="715" y="66"/>
                    </a:cubicBezTo>
                    <a:cubicBezTo>
                      <a:pt x="1188" y="66"/>
                      <a:pt x="1188" y="66"/>
                      <a:pt x="1188" y="66"/>
                    </a:cubicBezTo>
                    <a:cubicBezTo>
                      <a:pt x="1188" y="990"/>
                      <a:pt x="1188" y="990"/>
                      <a:pt x="1188" y="990"/>
                    </a:cubicBezTo>
                    <a:cubicBezTo>
                      <a:pt x="66" y="990"/>
                      <a:pt x="66" y="990"/>
                      <a:pt x="66" y="990"/>
                    </a:cubicBezTo>
                    <a:cubicBezTo>
                      <a:pt x="66" y="66"/>
                      <a:pt x="66" y="66"/>
                      <a:pt x="66" y="66"/>
                    </a:cubicBezTo>
                    <a:cubicBezTo>
                      <a:pt x="541" y="66"/>
                      <a:pt x="541" y="66"/>
                      <a:pt x="541" y="66"/>
                    </a:cubicBezTo>
                    <a:cubicBezTo>
                      <a:pt x="541" y="0"/>
                      <a:pt x="541" y="0"/>
                      <a:pt x="541" y="0"/>
                    </a:cubicBezTo>
                    <a:cubicBezTo>
                      <a:pt x="22" y="0"/>
                      <a:pt x="22" y="0"/>
                      <a:pt x="22" y="0"/>
                    </a:cubicBezTo>
                    <a:cubicBezTo>
                      <a:pt x="10" y="0"/>
                      <a:pt x="0" y="10"/>
                      <a:pt x="0" y="22"/>
                    </a:cubicBezTo>
                    <a:cubicBezTo>
                      <a:pt x="0" y="1034"/>
                      <a:pt x="0" y="1034"/>
                      <a:pt x="0" y="1034"/>
                    </a:cubicBezTo>
                    <a:cubicBezTo>
                      <a:pt x="0" y="1046"/>
                      <a:pt x="10" y="1056"/>
                      <a:pt x="22" y="1056"/>
                    </a:cubicBezTo>
                    <a:cubicBezTo>
                      <a:pt x="1232" y="1056"/>
                      <a:pt x="1232" y="1056"/>
                      <a:pt x="1232" y="1056"/>
                    </a:cubicBezTo>
                    <a:cubicBezTo>
                      <a:pt x="1244" y="1056"/>
                      <a:pt x="1254" y="1046"/>
                      <a:pt x="1254" y="1034"/>
                    </a:cubicBezTo>
                    <a:cubicBezTo>
                      <a:pt x="1254" y="22"/>
                      <a:pt x="1254" y="22"/>
                      <a:pt x="1254" y="22"/>
                    </a:cubicBezTo>
                    <a:cubicBezTo>
                      <a:pt x="1254" y="10"/>
                      <a:pt x="1244" y="0"/>
                      <a:pt x="1232" y="0"/>
                    </a:cubicBezTo>
                    <a:close/>
                  </a:path>
                </a:pathLst>
              </a:custGeom>
              <a:solidFill>
                <a:srgbClr val="05193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sp>
        <p:nvSpPr>
          <p:cNvPr id="15" name="Oval 20">
            <a:extLst>
              <a:ext uri="{FF2B5EF4-FFF2-40B4-BE49-F238E27FC236}">
                <a16:creationId xmlns:a16="http://schemas.microsoft.com/office/drawing/2014/main" id="{30D23BA7-7228-4F89-8A58-EB64E4977058}"/>
              </a:ext>
            </a:extLst>
          </p:cNvPr>
          <p:cNvSpPr>
            <a:spLocks noChangeAspect="1" noChangeArrowheads="1"/>
          </p:cNvSpPr>
          <p:nvPr/>
        </p:nvSpPr>
        <p:spPr bwMode="auto">
          <a:xfrm>
            <a:off x="807717" y="2277846"/>
            <a:ext cx="306910" cy="306910"/>
          </a:xfrm>
          <a:prstGeom prst="ellipse">
            <a:avLst/>
          </a:prstGeom>
          <a:solidFill>
            <a:srgbClr val="12284C">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100000"/>
                  </a:srgbClr>
                </a:solidFill>
                <a:effectLst/>
                <a:uLnTx/>
                <a:uFillTx/>
                <a:latin typeface="Open Sans"/>
                <a:ea typeface="+mn-ea"/>
                <a:cs typeface="+mn-cs"/>
              </a:rPr>
              <a:t>1</a:t>
            </a:r>
          </a:p>
        </p:txBody>
      </p:sp>
      <p:sp>
        <p:nvSpPr>
          <p:cNvPr id="16" name="Rectangle 15">
            <a:extLst>
              <a:ext uri="{FF2B5EF4-FFF2-40B4-BE49-F238E27FC236}">
                <a16:creationId xmlns:a16="http://schemas.microsoft.com/office/drawing/2014/main" id="{159F1876-6C3B-4C11-BEEF-EF6816DC27FD}"/>
              </a:ext>
            </a:extLst>
          </p:cNvPr>
          <p:cNvSpPr/>
          <p:nvPr/>
        </p:nvSpPr>
        <p:spPr>
          <a:xfrm>
            <a:off x="1816277" y="1473693"/>
            <a:ext cx="4815981" cy="4434997"/>
          </a:xfrm>
          <a:prstGeom prst="rect">
            <a:avLst/>
          </a:prstGeom>
          <a:solidFill>
            <a:schemeClr val="accent3">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9" name="Rectangle: Rounded Corners 18">
            <a:extLst>
              <a:ext uri="{FF2B5EF4-FFF2-40B4-BE49-F238E27FC236}">
                <a16:creationId xmlns:a16="http://schemas.microsoft.com/office/drawing/2014/main" id="{8E77A715-6C5A-4375-902E-8F5A4F438089}"/>
              </a:ext>
            </a:extLst>
          </p:cNvPr>
          <p:cNvSpPr/>
          <p:nvPr/>
        </p:nvSpPr>
        <p:spPr>
          <a:xfrm>
            <a:off x="1922608" y="2911796"/>
            <a:ext cx="2298577" cy="2428907"/>
          </a:xfrm>
          <a:prstGeom prst="roundRect">
            <a:avLst/>
          </a:prstGeom>
          <a:solidFill>
            <a:schemeClr val="accent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Initial screening </a:t>
            </a:r>
            <a:r>
              <a:rPr kumimoji="0" lang="en-US" sz="1600" b="0" i="0" u="none" strike="noStrike" kern="1200" cap="none" spc="0" normalizeH="0" baseline="0" noProof="0" dirty="0">
                <a:ln>
                  <a:noFill/>
                </a:ln>
                <a:solidFill>
                  <a:srgbClr val="000000"/>
                </a:solidFill>
                <a:effectLst/>
                <a:uLnTx/>
                <a:uFillTx/>
                <a:latin typeface="Open Sans"/>
                <a:ea typeface="+mn-ea"/>
                <a:cs typeface="+mn-cs"/>
              </a:rPr>
              <a:t>to ensure application has been completed and submitted correctly and that requests are compliant with federal and state law</a:t>
            </a:r>
          </a:p>
        </p:txBody>
      </p:sp>
      <p:sp>
        <p:nvSpPr>
          <p:cNvPr id="22" name="TextBox 21">
            <a:extLst>
              <a:ext uri="{FF2B5EF4-FFF2-40B4-BE49-F238E27FC236}">
                <a16:creationId xmlns:a16="http://schemas.microsoft.com/office/drawing/2014/main" id="{A9B61562-AB39-40D7-9856-11FAAD6D29A1}"/>
              </a:ext>
            </a:extLst>
          </p:cNvPr>
          <p:cNvSpPr txBox="1"/>
          <p:nvPr/>
        </p:nvSpPr>
        <p:spPr>
          <a:xfrm>
            <a:off x="2386690" y="1550457"/>
            <a:ext cx="3923831"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84C"/>
                </a:solidFill>
                <a:effectLst/>
                <a:uLnTx/>
                <a:uFillTx/>
                <a:latin typeface="Open Sans"/>
                <a:ea typeface="+mn-ea"/>
                <a:cs typeface="+mn-cs"/>
              </a:rPr>
              <a:t>KSDE screening &amp; review process</a:t>
            </a:r>
            <a:br>
              <a:rPr kumimoji="0" lang="en-US" sz="1800" b="1" i="0" u="none" strike="noStrike" kern="1200" cap="none" spc="0" normalizeH="0" baseline="0" noProof="0" dirty="0">
                <a:ln>
                  <a:noFill/>
                </a:ln>
                <a:solidFill>
                  <a:srgbClr val="12284C"/>
                </a:solidFill>
                <a:effectLst/>
                <a:uLnTx/>
                <a:uFillTx/>
                <a:latin typeface="Open Sans"/>
                <a:ea typeface="+mn-ea"/>
                <a:cs typeface="+mn-cs"/>
              </a:rPr>
            </a:br>
            <a:r>
              <a:rPr kumimoji="0" lang="en-US" sz="1800" b="1" i="0" u="none" strike="noStrike" kern="1200" cap="none" spc="0" normalizeH="0" baseline="0" noProof="0" dirty="0">
                <a:ln>
                  <a:noFill/>
                </a:ln>
                <a:solidFill>
                  <a:srgbClr val="12284C"/>
                </a:solidFill>
                <a:effectLst/>
                <a:uLnTx/>
                <a:uFillTx/>
                <a:latin typeface="Open Sans"/>
                <a:ea typeface="+mn-ea"/>
                <a:cs typeface="+mn-cs"/>
              </a:rPr>
              <a:t>for each ESSER application</a:t>
            </a:r>
          </a:p>
        </p:txBody>
      </p:sp>
      <p:grpSp>
        <p:nvGrpSpPr>
          <p:cNvPr id="44" name="Group 43">
            <a:extLst>
              <a:ext uri="{FF2B5EF4-FFF2-40B4-BE49-F238E27FC236}">
                <a16:creationId xmlns:a16="http://schemas.microsoft.com/office/drawing/2014/main" id="{A68DB590-34A5-4515-8C88-D7E16CCFF9BA}"/>
              </a:ext>
            </a:extLst>
          </p:cNvPr>
          <p:cNvGrpSpPr/>
          <p:nvPr/>
        </p:nvGrpSpPr>
        <p:grpSpPr>
          <a:xfrm>
            <a:off x="2831257" y="2653243"/>
            <a:ext cx="481278" cy="481278"/>
            <a:chOff x="3289256" y="2962687"/>
            <a:chExt cx="481278" cy="481278"/>
          </a:xfrm>
        </p:grpSpPr>
        <p:sp>
          <p:nvSpPr>
            <p:cNvPr id="26" name="Oval 25">
              <a:extLst>
                <a:ext uri="{FF2B5EF4-FFF2-40B4-BE49-F238E27FC236}">
                  <a16:creationId xmlns:a16="http://schemas.microsoft.com/office/drawing/2014/main" id="{DB31C01C-EADB-4300-B02F-97843657576D}"/>
                </a:ext>
              </a:extLst>
            </p:cNvPr>
            <p:cNvSpPr/>
            <p:nvPr/>
          </p:nvSpPr>
          <p:spPr>
            <a:xfrm>
              <a:off x="3289256" y="2962687"/>
              <a:ext cx="481278" cy="481278"/>
            </a:xfrm>
            <a:prstGeom prst="ellipse">
              <a:avLst/>
            </a:prstGeom>
            <a:solidFill>
              <a:srgbClr val="FFFFFF"/>
            </a:solidFill>
            <a:ln w="19050" cap="rnd" cmpd="sng" algn="ctr">
              <a:solidFill>
                <a:srgbClr val="EDAE1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7" name="Group 26">
              <a:extLst>
                <a:ext uri="{FF2B5EF4-FFF2-40B4-BE49-F238E27FC236}">
                  <a16:creationId xmlns:a16="http://schemas.microsoft.com/office/drawing/2014/main" id="{9A1C4DAB-2479-4ED5-A229-ADE70E54C883}"/>
                </a:ext>
              </a:extLst>
            </p:cNvPr>
            <p:cNvGrpSpPr>
              <a:grpSpLocks noChangeAspect="1"/>
            </p:cNvGrpSpPr>
            <p:nvPr/>
          </p:nvGrpSpPr>
          <p:grpSpPr>
            <a:xfrm>
              <a:off x="3329691" y="3006469"/>
              <a:ext cx="393715" cy="393715"/>
              <a:chOff x="5273675" y="2606675"/>
              <a:chExt cx="1644650" cy="1644650"/>
            </a:xfrm>
          </p:grpSpPr>
          <p:sp>
            <p:nvSpPr>
              <p:cNvPr id="28" name="AutoShape 51">
                <a:extLst>
                  <a:ext uri="{FF2B5EF4-FFF2-40B4-BE49-F238E27FC236}">
                    <a16:creationId xmlns:a16="http://schemas.microsoft.com/office/drawing/2014/main" id="{6B265A12-0DAA-4AAC-88A8-451AD1B418D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5C4F4961-116A-4B91-A2FE-714F6094ACAB}"/>
                  </a:ext>
                </a:extLst>
              </p:cNvPr>
              <p:cNvGrpSpPr/>
              <p:nvPr/>
            </p:nvGrpSpPr>
            <p:grpSpPr>
              <a:xfrm>
                <a:off x="5646738" y="2889250"/>
                <a:ext cx="1102126" cy="1217613"/>
                <a:chOff x="5646738" y="2889250"/>
                <a:chExt cx="1102126" cy="1217613"/>
              </a:xfrm>
            </p:grpSpPr>
            <p:sp>
              <p:nvSpPr>
                <p:cNvPr id="30" name="Freeform 30">
                  <a:extLst>
                    <a:ext uri="{FF2B5EF4-FFF2-40B4-BE49-F238E27FC236}">
                      <a16:creationId xmlns:a16="http://schemas.microsoft.com/office/drawing/2014/main" id="{4CA3C51C-12D2-4B86-A559-09B660E0B597}"/>
                    </a:ext>
                  </a:extLst>
                </p:cNvPr>
                <p:cNvSpPr>
                  <a:spLocks/>
                </p:cNvSpPr>
                <p:nvPr/>
              </p:nvSpPr>
              <p:spPr bwMode="auto">
                <a:xfrm>
                  <a:off x="5646738" y="2889250"/>
                  <a:ext cx="1102126" cy="1217613"/>
                </a:xfrm>
                <a:custGeom>
                  <a:avLst/>
                  <a:gdLst>
                    <a:gd name="connsiteX0" fmla="*/ 859623 w 1102126"/>
                    <a:gd name="connsiteY0" fmla="*/ 901700 h 1217613"/>
                    <a:gd name="connsiteX1" fmla="*/ 793750 w 1102126"/>
                    <a:gd name="connsiteY1" fmla="*/ 964565 h 1217613"/>
                    <a:gd name="connsiteX2" fmla="*/ 866784 w 1102126"/>
                    <a:gd name="connsiteY2" fmla="*/ 1041003 h 1217613"/>
                    <a:gd name="connsiteX3" fmla="*/ 898288 w 1102126"/>
                    <a:gd name="connsiteY3" fmla="*/ 1073865 h 1217613"/>
                    <a:gd name="connsiteX4" fmla="*/ 1004974 w 1102126"/>
                    <a:gd name="connsiteY4" fmla="*/ 1183878 h 1217613"/>
                    <a:gd name="connsiteX5" fmla="*/ 1048651 w 1102126"/>
                    <a:gd name="connsiteY5" fmla="*/ 1164590 h 1217613"/>
                    <a:gd name="connsiteX6" fmla="*/ 1069415 w 1102126"/>
                    <a:gd name="connsiteY6" fmla="*/ 1133872 h 1217613"/>
                    <a:gd name="connsiteX7" fmla="*/ 1070131 w 1102126"/>
                    <a:gd name="connsiteY7" fmla="*/ 1121013 h 1217613"/>
                    <a:gd name="connsiteX8" fmla="*/ 898288 w 1102126"/>
                    <a:gd name="connsiteY8" fmla="*/ 942420 h 1217613"/>
                    <a:gd name="connsiteX9" fmla="*/ 866784 w 1102126"/>
                    <a:gd name="connsiteY9" fmla="*/ 909558 h 1217613"/>
                    <a:gd name="connsiteX10" fmla="*/ 859623 w 1102126"/>
                    <a:gd name="connsiteY10" fmla="*/ 901700 h 1217613"/>
                    <a:gd name="connsiteX11" fmla="*/ 493356 w 1102126"/>
                    <a:gd name="connsiteY11" fmla="*/ 315913 h 1217613"/>
                    <a:gd name="connsiteX12" fmla="*/ 479099 w 1102126"/>
                    <a:gd name="connsiteY12" fmla="*/ 316628 h 1217613"/>
                    <a:gd name="connsiteX13" fmla="*/ 351501 w 1102126"/>
                    <a:gd name="connsiteY13" fmla="*/ 355947 h 1217613"/>
                    <a:gd name="connsiteX14" fmla="*/ 259545 w 1102126"/>
                    <a:gd name="connsiteY14" fmla="*/ 446023 h 1217613"/>
                    <a:gd name="connsiteX15" fmla="*/ 254555 w 1102126"/>
                    <a:gd name="connsiteY15" fmla="*/ 455316 h 1217613"/>
                    <a:gd name="connsiteX16" fmla="*/ 239585 w 1102126"/>
                    <a:gd name="connsiteY16" fmla="*/ 485342 h 1217613"/>
                    <a:gd name="connsiteX17" fmla="*/ 228180 w 1102126"/>
                    <a:gd name="connsiteY17" fmla="*/ 518941 h 1217613"/>
                    <a:gd name="connsiteX18" fmla="*/ 220339 w 1102126"/>
                    <a:gd name="connsiteY18" fmla="*/ 553256 h 1217613"/>
                    <a:gd name="connsiteX19" fmla="*/ 218200 w 1102126"/>
                    <a:gd name="connsiteY19" fmla="*/ 577562 h 1217613"/>
                    <a:gd name="connsiteX20" fmla="*/ 217487 w 1102126"/>
                    <a:gd name="connsiteY20" fmla="*/ 592575 h 1217613"/>
                    <a:gd name="connsiteX21" fmla="*/ 218913 w 1102126"/>
                    <a:gd name="connsiteY21" fmla="*/ 615451 h 1217613"/>
                    <a:gd name="connsiteX22" fmla="*/ 223903 w 1102126"/>
                    <a:gd name="connsiteY22" fmla="*/ 651195 h 1217613"/>
                    <a:gd name="connsiteX23" fmla="*/ 225328 w 1102126"/>
                    <a:gd name="connsiteY23" fmla="*/ 658344 h 1217613"/>
                    <a:gd name="connsiteX24" fmla="*/ 242437 w 1102126"/>
                    <a:gd name="connsiteY24" fmla="*/ 707672 h 1217613"/>
                    <a:gd name="connsiteX25" fmla="*/ 264535 w 1102126"/>
                    <a:gd name="connsiteY25" fmla="*/ 746990 h 1217613"/>
                    <a:gd name="connsiteX26" fmla="*/ 364332 w 1102126"/>
                    <a:gd name="connsiteY26" fmla="*/ 837066 h 1217613"/>
                    <a:gd name="connsiteX27" fmla="*/ 494069 w 1102126"/>
                    <a:gd name="connsiteY27" fmla="*/ 869951 h 1217613"/>
                    <a:gd name="connsiteX28" fmla="*/ 623805 w 1102126"/>
                    <a:gd name="connsiteY28" fmla="*/ 837066 h 1217613"/>
                    <a:gd name="connsiteX29" fmla="*/ 724316 w 1102126"/>
                    <a:gd name="connsiteY29" fmla="*/ 745561 h 1217613"/>
                    <a:gd name="connsiteX30" fmla="*/ 736434 w 1102126"/>
                    <a:gd name="connsiteY30" fmla="*/ 725544 h 1217613"/>
                    <a:gd name="connsiteX31" fmla="*/ 769937 w 1102126"/>
                    <a:gd name="connsiteY31" fmla="*/ 592575 h 1217613"/>
                    <a:gd name="connsiteX32" fmla="*/ 635924 w 1102126"/>
                    <a:gd name="connsiteY32" fmla="*/ 355947 h 1217613"/>
                    <a:gd name="connsiteX33" fmla="*/ 619528 w 1102126"/>
                    <a:gd name="connsiteY33" fmla="*/ 345938 h 1217613"/>
                    <a:gd name="connsiteX34" fmla="*/ 599569 w 1102126"/>
                    <a:gd name="connsiteY34" fmla="*/ 337360 h 1217613"/>
                    <a:gd name="connsiteX35" fmla="*/ 592440 w 1102126"/>
                    <a:gd name="connsiteY35" fmla="*/ 334500 h 1217613"/>
                    <a:gd name="connsiteX36" fmla="*/ 509038 w 1102126"/>
                    <a:gd name="connsiteY36" fmla="*/ 316628 h 1217613"/>
                    <a:gd name="connsiteX37" fmla="*/ 494069 w 1102126"/>
                    <a:gd name="connsiteY37" fmla="*/ 315913 h 1217613"/>
                    <a:gd name="connsiteX38" fmla="*/ 493356 w 1102126"/>
                    <a:gd name="connsiteY38" fmla="*/ 315913 h 1217613"/>
                    <a:gd name="connsiteX39" fmla="*/ 494232 w 1102126"/>
                    <a:gd name="connsiteY39" fmla="*/ 285750 h 1217613"/>
                    <a:gd name="connsiteX40" fmla="*/ 630626 w 1102126"/>
                    <a:gd name="connsiteY40" fmla="*/ 317865 h 1217613"/>
                    <a:gd name="connsiteX41" fmla="*/ 690611 w 1102126"/>
                    <a:gd name="connsiteY41" fmla="*/ 357116 h 1217613"/>
                    <a:gd name="connsiteX42" fmla="*/ 802012 w 1102126"/>
                    <a:gd name="connsiteY42" fmla="*/ 593339 h 1217613"/>
                    <a:gd name="connsiteX43" fmla="*/ 744883 w 1102126"/>
                    <a:gd name="connsiteY43" fmla="*/ 771755 h 1217613"/>
                    <a:gd name="connsiteX44" fmla="*/ 816294 w 1102126"/>
                    <a:gd name="connsiteY44" fmla="*/ 845976 h 1217613"/>
                    <a:gd name="connsiteX45" fmla="*/ 815580 w 1102126"/>
                    <a:gd name="connsiteY45" fmla="*/ 858108 h 1217613"/>
                    <a:gd name="connsiteX46" fmla="*/ 749168 w 1102126"/>
                    <a:gd name="connsiteY46" fmla="*/ 920911 h 1217613"/>
                    <a:gd name="connsiteX47" fmla="*/ 744883 w 1102126"/>
                    <a:gd name="connsiteY47" fmla="*/ 922338 h 1217613"/>
                    <a:gd name="connsiteX48" fmla="*/ 738456 w 1102126"/>
                    <a:gd name="connsiteY48" fmla="*/ 919484 h 1217613"/>
                    <a:gd name="connsiteX49" fmla="*/ 696324 w 1102126"/>
                    <a:gd name="connsiteY49" fmla="*/ 876664 h 1217613"/>
                    <a:gd name="connsiteX50" fmla="*/ 667760 w 1102126"/>
                    <a:gd name="connsiteY50" fmla="*/ 848117 h 1217613"/>
                    <a:gd name="connsiteX51" fmla="*/ 614916 w 1102126"/>
                    <a:gd name="connsiteY51" fmla="*/ 876664 h 1217613"/>
                    <a:gd name="connsiteX52" fmla="*/ 494232 w 1102126"/>
                    <a:gd name="connsiteY52" fmla="*/ 901642 h 1217613"/>
                    <a:gd name="connsiteX53" fmla="*/ 372833 w 1102126"/>
                    <a:gd name="connsiteY53" fmla="*/ 876664 h 1217613"/>
                    <a:gd name="connsiteX54" fmla="*/ 306421 w 1102126"/>
                    <a:gd name="connsiteY54" fmla="*/ 837412 h 1217613"/>
                    <a:gd name="connsiteX55" fmla="*/ 227155 w 1102126"/>
                    <a:gd name="connsiteY55" fmla="*/ 747491 h 1217613"/>
                    <a:gd name="connsiteX56" fmla="*/ 207875 w 1102126"/>
                    <a:gd name="connsiteY56" fmla="*/ 708239 h 1217613"/>
                    <a:gd name="connsiteX57" fmla="*/ 187165 w 1102126"/>
                    <a:gd name="connsiteY57" fmla="*/ 616176 h 1217613"/>
                    <a:gd name="connsiteX58" fmla="*/ 185737 w 1102126"/>
                    <a:gd name="connsiteY58" fmla="*/ 593339 h 1217613"/>
                    <a:gd name="connsiteX59" fmla="*/ 186451 w 1102126"/>
                    <a:gd name="connsiteY59" fmla="*/ 578352 h 1217613"/>
                    <a:gd name="connsiteX60" fmla="*/ 205018 w 1102126"/>
                    <a:gd name="connsiteY60" fmla="*/ 486290 h 1217613"/>
                    <a:gd name="connsiteX61" fmla="*/ 222871 w 1102126"/>
                    <a:gd name="connsiteY61" fmla="*/ 447038 h 1217613"/>
                    <a:gd name="connsiteX62" fmla="*/ 297138 w 1102126"/>
                    <a:gd name="connsiteY62" fmla="*/ 357116 h 1217613"/>
                    <a:gd name="connsiteX63" fmla="*/ 357837 w 1102126"/>
                    <a:gd name="connsiteY63" fmla="*/ 317865 h 1217613"/>
                    <a:gd name="connsiteX64" fmla="*/ 494232 w 1102126"/>
                    <a:gd name="connsiteY64" fmla="*/ 285750 h 1217613"/>
                    <a:gd name="connsiteX65" fmla="*/ 31750 w 1102126"/>
                    <a:gd name="connsiteY65" fmla="*/ 31750 h 1217613"/>
                    <a:gd name="connsiteX66" fmla="*/ 31750 w 1102126"/>
                    <a:gd name="connsiteY66" fmla="*/ 1160463 h 1217613"/>
                    <a:gd name="connsiteX67" fmla="*/ 866775 w 1102126"/>
                    <a:gd name="connsiteY67" fmla="*/ 1160463 h 1217613"/>
                    <a:gd name="connsiteX68" fmla="*/ 866775 w 1102126"/>
                    <a:gd name="connsiteY68" fmla="*/ 1085549 h 1217613"/>
                    <a:gd name="connsiteX69" fmla="*/ 761148 w 1102126"/>
                    <a:gd name="connsiteY69" fmla="*/ 974247 h 1217613"/>
                    <a:gd name="connsiteX70" fmla="*/ 761148 w 1102126"/>
                    <a:gd name="connsiteY70" fmla="*/ 952129 h 1217613"/>
                    <a:gd name="connsiteX71" fmla="*/ 772567 w 1102126"/>
                    <a:gd name="connsiteY71" fmla="*/ 941427 h 1217613"/>
                    <a:gd name="connsiteX72" fmla="*/ 841796 w 1102126"/>
                    <a:gd name="connsiteY72" fmla="*/ 875074 h 1217613"/>
                    <a:gd name="connsiteX73" fmla="*/ 849647 w 1102126"/>
                    <a:gd name="connsiteY73" fmla="*/ 867226 h 1217613"/>
                    <a:gd name="connsiteX74" fmla="*/ 861066 w 1102126"/>
                    <a:gd name="connsiteY74" fmla="*/ 862945 h 1217613"/>
                    <a:gd name="connsiteX75" fmla="*/ 866775 w 1102126"/>
                    <a:gd name="connsiteY75" fmla="*/ 865086 h 1217613"/>
                    <a:gd name="connsiteX76" fmla="*/ 866775 w 1102126"/>
                    <a:gd name="connsiteY76" fmla="*/ 31750 h 1217613"/>
                    <a:gd name="connsiteX77" fmla="*/ 31750 w 1102126"/>
                    <a:gd name="connsiteY77" fmla="*/ 31750 h 1217613"/>
                    <a:gd name="connsiteX78" fmla="*/ 15713 w 1102126"/>
                    <a:gd name="connsiteY78" fmla="*/ 0 h 1217613"/>
                    <a:gd name="connsiteX79" fmla="*/ 882777 w 1102126"/>
                    <a:gd name="connsiteY79" fmla="*/ 0 h 1217613"/>
                    <a:gd name="connsiteX80" fmla="*/ 898490 w 1102126"/>
                    <a:gd name="connsiteY80" fmla="*/ 15711 h 1217613"/>
                    <a:gd name="connsiteX81" fmla="*/ 898490 w 1102126"/>
                    <a:gd name="connsiteY81" fmla="*/ 896249 h 1217613"/>
                    <a:gd name="connsiteX82" fmla="*/ 1092758 w 1102126"/>
                    <a:gd name="connsiteY82" fmla="*/ 1100494 h 1217613"/>
                    <a:gd name="connsiteX83" fmla="*/ 1098472 w 1102126"/>
                    <a:gd name="connsiteY83" fmla="*/ 1144771 h 1217613"/>
                    <a:gd name="connsiteX84" fmla="*/ 1069903 w 1102126"/>
                    <a:gd name="connsiteY84" fmla="*/ 1188333 h 1217613"/>
                    <a:gd name="connsiteX85" fmla="*/ 1008480 w 1102126"/>
                    <a:gd name="connsiteY85" fmla="*/ 1217613 h 1217613"/>
                    <a:gd name="connsiteX86" fmla="*/ 981340 w 1102126"/>
                    <a:gd name="connsiteY86" fmla="*/ 1206901 h 1217613"/>
                    <a:gd name="connsiteX87" fmla="*/ 898490 w 1102126"/>
                    <a:gd name="connsiteY87" fmla="*/ 1119776 h 1217613"/>
                    <a:gd name="connsiteX88" fmla="*/ 898490 w 1102126"/>
                    <a:gd name="connsiteY88" fmla="*/ 1176907 h 1217613"/>
                    <a:gd name="connsiteX89" fmla="*/ 882777 w 1102126"/>
                    <a:gd name="connsiteY89" fmla="*/ 1192618 h 1217613"/>
                    <a:gd name="connsiteX90" fmla="*/ 15713 w 1102126"/>
                    <a:gd name="connsiteY90" fmla="*/ 1192618 h 1217613"/>
                    <a:gd name="connsiteX91" fmla="*/ 0 w 1102126"/>
                    <a:gd name="connsiteY91" fmla="*/ 1176907 h 1217613"/>
                    <a:gd name="connsiteX92" fmla="*/ 0 w 1102126"/>
                    <a:gd name="connsiteY92" fmla="*/ 15711 h 1217613"/>
                    <a:gd name="connsiteX93" fmla="*/ 15713 w 1102126"/>
                    <a:gd name="connsiteY93" fmla="*/ 0 h 121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02126" h="1217613">
                      <a:moveTo>
                        <a:pt x="859623" y="901700"/>
                      </a:moveTo>
                      <a:cubicBezTo>
                        <a:pt x="859623" y="901700"/>
                        <a:pt x="859623" y="901700"/>
                        <a:pt x="793750" y="964565"/>
                      </a:cubicBezTo>
                      <a:cubicBezTo>
                        <a:pt x="793750" y="964565"/>
                        <a:pt x="824539" y="996712"/>
                        <a:pt x="866784" y="1041003"/>
                      </a:cubicBezTo>
                      <a:cubicBezTo>
                        <a:pt x="876808" y="1051005"/>
                        <a:pt x="887548" y="1062435"/>
                        <a:pt x="898288" y="1073865"/>
                      </a:cubicBezTo>
                      <a:cubicBezTo>
                        <a:pt x="932657" y="1109583"/>
                        <a:pt x="970605" y="1148874"/>
                        <a:pt x="1004974" y="1183878"/>
                      </a:cubicBezTo>
                      <a:cubicBezTo>
                        <a:pt x="1007838" y="1187450"/>
                        <a:pt x="1027170" y="1185307"/>
                        <a:pt x="1048651" y="1164590"/>
                      </a:cubicBezTo>
                      <a:cubicBezTo>
                        <a:pt x="1057959" y="1155303"/>
                        <a:pt x="1065835" y="1143873"/>
                        <a:pt x="1069415" y="1133872"/>
                      </a:cubicBezTo>
                      <a:cubicBezTo>
                        <a:pt x="1071563" y="1126728"/>
                        <a:pt x="1070847" y="1122442"/>
                        <a:pt x="1070131" y="1121013"/>
                      </a:cubicBezTo>
                      <a:cubicBezTo>
                        <a:pt x="1070131" y="1121013"/>
                        <a:pt x="959865" y="1005999"/>
                        <a:pt x="898288" y="942420"/>
                      </a:cubicBezTo>
                      <a:cubicBezTo>
                        <a:pt x="885400" y="928132"/>
                        <a:pt x="873944" y="916702"/>
                        <a:pt x="866784" y="909558"/>
                      </a:cubicBezTo>
                      <a:cubicBezTo>
                        <a:pt x="863920" y="905986"/>
                        <a:pt x="861055" y="903129"/>
                        <a:pt x="859623" y="901700"/>
                      </a:cubicBezTo>
                      <a:close/>
                      <a:moveTo>
                        <a:pt x="493356" y="315913"/>
                      </a:moveTo>
                      <a:cubicBezTo>
                        <a:pt x="488366" y="315913"/>
                        <a:pt x="483376" y="315913"/>
                        <a:pt x="479099" y="316628"/>
                      </a:cubicBezTo>
                      <a:cubicBezTo>
                        <a:pt x="432765" y="318773"/>
                        <a:pt x="389281" y="333070"/>
                        <a:pt x="351501" y="355947"/>
                      </a:cubicBezTo>
                      <a:cubicBezTo>
                        <a:pt x="314433" y="378108"/>
                        <a:pt x="283068" y="409563"/>
                        <a:pt x="259545" y="446023"/>
                      </a:cubicBezTo>
                      <a:cubicBezTo>
                        <a:pt x="258119" y="448882"/>
                        <a:pt x="255981" y="452457"/>
                        <a:pt x="254555" y="455316"/>
                      </a:cubicBezTo>
                      <a:cubicBezTo>
                        <a:pt x="248852" y="465325"/>
                        <a:pt x="243862" y="475333"/>
                        <a:pt x="239585" y="485342"/>
                      </a:cubicBezTo>
                      <a:cubicBezTo>
                        <a:pt x="234595" y="496065"/>
                        <a:pt x="231031" y="507503"/>
                        <a:pt x="228180" y="518941"/>
                      </a:cubicBezTo>
                      <a:cubicBezTo>
                        <a:pt x="224616" y="529665"/>
                        <a:pt x="222477" y="541818"/>
                        <a:pt x="220339" y="553256"/>
                      </a:cubicBezTo>
                      <a:cubicBezTo>
                        <a:pt x="219626" y="561835"/>
                        <a:pt x="218913" y="569698"/>
                        <a:pt x="218200" y="577562"/>
                      </a:cubicBezTo>
                      <a:cubicBezTo>
                        <a:pt x="218200" y="582566"/>
                        <a:pt x="217487" y="587570"/>
                        <a:pt x="217487" y="592575"/>
                      </a:cubicBezTo>
                      <a:cubicBezTo>
                        <a:pt x="217487" y="600438"/>
                        <a:pt x="218200" y="607587"/>
                        <a:pt x="218913" y="615451"/>
                      </a:cubicBezTo>
                      <a:cubicBezTo>
                        <a:pt x="219626" y="627604"/>
                        <a:pt x="221764" y="639757"/>
                        <a:pt x="223903" y="651195"/>
                      </a:cubicBezTo>
                      <a:cubicBezTo>
                        <a:pt x="224616" y="653340"/>
                        <a:pt x="225328" y="656200"/>
                        <a:pt x="225328" y="658344"/>
                      </a:cubicBezTo>
                      <a:cubicBezTo>
                        <a:pt x="229606" y="675502"/>
                        <a:pt x="235308" y="691944"/>
                        <a:pt x="242437" y="707672"/>
                      </a:cubicBezTo>
                      <a:cubicBezTo>
                        <a:pt x="248852" y="721254"/>
                        <a:pt x="255981" y="734122"/>
                        <a:pt x="264535" y="746990"/>
                      </a:cubicBezTo>
                      <a:cubicBezTo>
                        <a:pt x="289484" y="784165"/>
                        <a:pt x="323700" y="815620"/>
                        <a:pt x="364332" y="837066"/>
                      </a:cubicBezTo>
                      <a:cubicBezTo>
                        <a:pt x="402825" y="857798"/>
                        <a:pt x="447021" y="869951"/>
                        <a:pt x="494069" y="869951"/>
                      </a:cubicBezTo>
                      <a:cubicBezTo>
                        <a:pt x="541116" y="869951"/>
                        <a:pt x="584599" y="857798"/>
                        <a:pt x="623805" y="837066"/>
                      </a:cubicBezTo>
                      <a:cubicBezTo>
                        <a:pt x="664437" y="815620"/>
                        <a:pt x="698653" y="783450"/>
                        <a:pt x="724316" y="745561"/>
                      </a:cubicBezTo>
                      <a:cubicBezTo>
                        <a:pt x="728593" y="739127"/>
                        <a:pt x="732157" y="732693"/>
                        <a:pt x="736434" y="725544"/>
                      </a:cubicBezTo>
                      <a:cubicBezTo>
                        <a:pt x="757819" y="686225"/>
                        <a:pt x="769937" y="641187"/>
                        <a:pt x="769937" y="592575"/>
                      </a:cubicBezTo>
                      <a:cubicBezTo>
                        <a:pt x="769937" y="492490"/>
                        <a:pt x="716474" y="404559"/>
                        <a:pt x="635924" y="355947"/>
                      </a:cubicBezTo>
                      <a:cubicBezTo>
                        <a:pt x="630934" y="352372"/>
                        <a:pt x="625231" y="349513"/>
                        <a:pt x="619528" y="345938"/>
                      </a:cubicBezTo>
                      <a:cubicBezTo>
                        <a:pt x="613113" y="343079"/>
                        <a:pt x="606697" y="340219"/>
                        <a:pt x="599569" y="337360"/>
                      </a:cubicBezTo>
                      <a:cubicBezTo>
                        <a:pt x="597430" y="335930"/>
                        <a:pt x="594579" y="335215"/>
                        <a:pt x="592440" y="334500"/>
                      </a:cubicBezTo>
                      <a:cubicBezTo>
                        <a:pt x="566065" y="324492"/>
                        <a:pt x="538265" y="318058"/>
                        <a:pt x="509038" y="316628"/>
                      </a:cubicBezTo>
                      <a:cubicBezTo>
                        <a:pt x="504048" y="315913"/>
                        <a:pt x="499059" y="315913"/>
                        <a:pt x="494069" y="315913"/>
                      </a:cubicBezTo>
                      <a:cubicBezTo>
                        <a:pt x="494069" y="315913"/>
                        <a:pt x="493356" y="315913"/>
                        <a:pt x="493356" y="315913"/>
                      </a:cubicBezTo>
                      <a:close/>
                      <a:moveTo>
                        <a:pt x="494232" y="285750"/>
                      </a:moveTo>
                      <a:cubicBezTo>
                        <a:pt x="542791" y="285750"/>
                        <a:pt x="589208" y="297169"/>
                        <a:pt x="630626" y="317865"/>
                      </a:cubicBezTo>
                      <a:cubicBezTo>
                        <a:pt x="652049" y="328570"/>
                        <a:pt x="672758" y="341416"/>
                        <a:pt x="690611" y="357116"/>
                      </a:cubicBezTo>
                      <a:cubicBezTo>
                        <a:pt x="759165" y="413496"/>
                        <a:pt x="802012" y="498422"/>
                        <a:pt x="802012" y="593339"/>
                      </a:cubicBezTo>
                      <a:cubicBezTo>
                        <a:pt x="802012" y="659710"/>
                        <a:pt x="781303" y="721799"/>
                        <a:pt x="744883" y="771755"/>
                      </a:cubicBezTo>
                      <a:cubicBezTo>
                        <a:pt x="754166" y="781033"/>
                        <a:pt x="816294" y="845976"/>
                        <a:pt x="816294" y="845976"/>
                      </a:cubicBezTo>
                      <a:cubicBezTo>
                        <a:pt x="819150" y="849544"/>
                        <a:pt x="819150" y="854540"/>
                        <a:pt x="815580" y="858108"/>
                      </a:cubicBezTo>
                      <a:cubicBezTo>
                        <a:pt x="815580" y="858108"/>
                        <a:pt x="815580" y="858108"/>
                        <a:pt x="749168" y="920911"/>
                      </a:cubicBezTo>
                      <a:cubicBezTo>
                        <a:pt x="747740" y="921624"/>
                        <a:pt x="746311" y="922338"/>
                        <a:pt x="744883" y="922338"/>
                      </a:cubicBezTo>
                      <a:cubicBezTo>
                        <a:pt x="742741" y="922338"/>
                        <a:pt x="740598" y="920911"/>
                        <a:pt x="738456" y="919484"/>
                      </a:cubicBezTo>
                      <a:cubicBezTo>
                        <a:pt x="734171" y="915202"/>
                        <a:pt x="714176" y="895219"/>
                        <a:pt x="696324" y="876664"/>
                      </a:cubicBezTo>
                      <a:cubicBezTo>
                        <a:pt x="683470" y="863818"/>
                        <a:pt x="671330" y="851685"/>
                        <a:pt x="667760" y="848117"/>
                      </a:cubicBezTo>
                      <a:cubicBezTo>
                        <a:pt x="651335" y="858822"/>
                        <a:pt x="633482" y="868813"/>
                        <a:pt x="614916" y="876664"/>
                      </a:cubicBezTo>
                      <a:cubicBezTo>
                        <a:pt x="577782" y="892364"/>
                        <a:pt x="537078" y="901642"/>
                        <a:pt x="494232" y="901642"/>
                      </a:cubicBezTo>
                      <a:cubicBezTo>
                        <a:pt x="451385" y="901642"/>
                        <a:pt x="409967" y="892364"/>
                        <a:pt x="372833" y="876664"/>
                      </a:cubicBezTo>
                      <a:cubicBezTo>
                        <a:pt x="349268" y="866672"/>
                        <a:pt x="326416" y="853113"/>
                        <a:pt x="306421" y="837412"/>
                      </a:cubicBezTo>
                      <a:cubicBezTo>
                        <a:pt x="274287" y="813148"/>
                        <a:pt x="247150" y="782460"/>
                        <a:pt x="227155" y="747491"/>
                      </a:cubicBezTo>
                      <a:cubicBezTo>
                        <a:pt x="220014" y="734645"/>
                        <a:pt x="213587" y="721799"/>
                        <a:pt x="207875" y="708239"/>
                      </a:cubicBezTo>
                      <a:cubicBezTo>
                        <a:pt x="196449" y="678979"/>
                        <a:pt x="189308" y="648291"/>
                        <a:pt x="187165" y="616176"/>
                      </a:cubicBezTo>
                      <a:cubicBezTo>
                        <a:pt x="186451" y="608326"/>
                        <a:pt x="185737" y="601189"/>
                        <a:pt x="185737" y="593339"/>
                      </a:cubicBezTo>
                      <a:cubicBezTo>
                        <a:pt x="185737" y="588344"/>
                        <a:pt x="186451" y="583348"/>
                        <a:pt x="186451" y="578352"/>
                      </a:cubicBezTo>
                      <a:cubicBezTo>
                        <a:pt x="187880" y="546237"/>
                        <a:pt x="194307" y="515550"/>
                        <a:pt x="205018" y="486290"/>
                      </a:cubicBezTo>
                      <a:cubicBezTo>
                        <a:pt x="210017" y="472730"/>
                        <a:pt x="216444" y="459884"/>
                        <a:pt x="222871" y="447038"/>
                      </a:cubicBezTo>
                      <a:cubicBezTo>
                        <a:pt x="242152" y="412782"/>
                        <a:pt x="267145" y="382095"/>
                        <a:pt x="297138" y="357116"/>
                      </a:cubicBezTo>
                      <a:cubicBezTo>
                        <a:pt x="315705" y="341416"/>
                        <a:pt x="335700" y="328570"/>
                        <a:pt x="357837" y="317865"/>
                      </a:cubicBezTo>
                      <a:cubicBezTo>
                        <a:pt x="398541" y="297169"/>
                        <a:pt x="444958" y="285750"/>
                        <a:pt x="494232" y="285750"/>
                      </a:cubicBezTo>
                      <a:close/>
                      <a:moveTo>
                        <a:pt x="31750" y="31750"/>
                      </a:moveTo>
                      <a:cubicBezTo>
                        <a:pt x="31750" y="31750"/>
                        <a:pt x="31750" y="31750"/>
                        <a:pt x="31750" y="1160463"/>
                      </a:cubicBezTo>
                      <a:cubicBezTo>
                        <a:pt x="31750" y="1160463"/>
                        <a:pt x="31750" y="1160463"/>
                        <a:pt x="866775" y="1160463"/>
                      </a:cubicBezTo>
                      <a:lnTo>
                        <a:pt x="866775" y="1085549"/>
                      </a:lnTo>
                      <a:cubicBezTo>
                        <a:pt x="825381" y="1042027"/>
                        <a:pt x="783273" y="997078"/>
                        <a:pt x="761148" y="974247"/>
                      </a:cubicBezTo>
                      <a:cubicBezTo>
                        <a:pt x="754725" y="967826"/>
                        <a:pt x="754725" y="957837"/>
                        <a:pt x="761148" y="952129"/>
                      </a:cubicBezTo>
                      <a:cubicBezTo>
                        <a:pt x="761148" y="952129"/>
                        <a:pt x="761148" y="952129"/>
                        <a:pt x="772567" y="941427"/>
                      </a:cubicBezTo>
                      <a:cubicBezTo>
                        <a:pt x="782559" y="931439"/>
                        <a:pt x="802543" y="912175"/>
                        <a:pt x="841796" y="875074"/>
                      </a:cubicBezTo>
                      <a:cubicBezTo>
                        <a:pt x="843937" y="872220"/>
                        <a:pt x="846792" y="870080"/>
                        <a:pt x="849647" y="867226"/>
                      </a:cubicBezTo>
                      <a:cubicBezTo>
                        <a:pt x="853215" y="864372"/>
                        <a:pt x="856783" y="862945"/>
                        <a:pt x="861066" y="862945"/>
                      </a:cubicBezTo>
                      <a:cubicBezTo>
                        <a:pt x="862493" y="862945"/>
                        <a:pt x="864634" y="863659"/>
                        <a:pt x="866775" y="865086"/>
                      </a:cubicBezTo>
                      <a:cubicBezTo>
                        <a:pt x="866775" y="865086"/>
                        <a:pt x="866775" y="865086"/>
                        <a:pt x="866775" y="31750"/>
                      </a:cubicBezTo>
                      <a:cubicBezTo>
                        <a:pt x="866775" y="31750"/>
                        <a:pt x="866775" y="31750"/>
                        <a:pt x="31750" y="31750"/>
                      </a:cubicBezTo>
                      <a:close/>
                      <a:moveTo>
                        <a:pt x="15713" y="0"/>
                      </a:moveTo>
                      <a:cubicBezTo>
                        <a:pt x="15713" y="0"/>
                        <a:pt x="15713" y="0"/>
                        <a:pt x="882777" y="0"/>
                      </a:cubicBezTo>
                      <a:cubicBezTo>
                        <a:pt x="892062" y="0"/>
                        <a:pt x="898490" y="7142"/>
                        <a:pt x="898490" y="15711"/>
                      </a:cubicBezTo>
                      <a:cubicBezTo>
                        <a:pt x="898490" y="15711"/>
                        <a:pt x="898490" y="15711"/>
                        <a:pt x="898490" y="896249"/>
                      </a:cubicBezTo>
                      <a:lnTo>
                        <a:pt x="1092758" y="1100494"/>
                      </a:lnTo>
                      <a:cubicBezTo>
                        <a:pt x="1102758" y="1111206"/>
                        <a:pt x="1104900" y="1126917"/>
                        <a:pt x="1098472" y="1144771"/>
                      </a:cubicBezTo>
                      <a:cubicBezTo>
                        <a:pt x="1093473" y="1159768"/>
                        <a:pt x="1083474" y="1174765"/>
                        <a:pt x="1069903" y="1188333"/>
                      </a:cubicBezTo>
                      <a:cubicBezTo>
                        <a:pt x="1049905" y="1206901"/>
                        <a:pt x="1027050" y="1217613"/>
                        <a:pt x="1008480" y="1217613"/>
                      </a:cubicBezTo>
                      <a:cubicBezTo>
                        <a:pt x="997767" y="1217613"/>
                        <a:pt x="988482" y="1214042"/>
                        <a:pt x="981340" y="1206901"/>
                      </a:cubicBezTo>
                      <a:cubicBezTo>
                        <a:pt x="981340" y="1206901"/>
                        <a:pt x="944200" y="1167623"/>
                        <a:pt x="898490" y="1119776"/>
                      </a:cubicBezTo>
                      <a:cubicBezTo>
                        <a:pt x="898490" y="1119776"/>
                        <a:pt x="898490" y="1119776"/>
                        <a:pt x="898490" y="1176907"/>
                      </a:cubicBezTo>
                      <a:cubicBezTo>
                        <a:pt x="898490" y="1186191"/>
                        <a:pt x="892062" y="1192618"/>
                        <a:pt x="882777" y="1192618"/>
                      </a:cubicBezTo>
                      <a:cubicBezTo>
                        <a:pt x="882777" y="1192618"/>
                        <a:pt x="882777" y="1192618"/>
                        <a:pt x="15713" y="1192618"/>
                      </a:cubicBezTo>
                      <a:cubicBezTo>
                        <a:pt x="6428" y="1192618"/>
                        <a:pt x="0" y="1186191"/>
                        <a:pt x="0" y="1176907"/>
                      </a:cubicBezTo>
                      <a:cubicBezTo>
                        <a:pt x="0" y="1176907"/>
                        <a:pt x="0" y="1176907"/>
                        <a:pt x="0" y="15711"/>
                      </a:cubicBezTo>
                      <a:cubicBezTo>
                        <a:pt x="0" y="7142"/>
                        <a:pt x="6428" y="0"/>
                        <a:pt x="15713" y="0"/>
                      </a:cubicBezTo>
                      <a:close/>
                    </a:path>
                  </a:pathLst>
                </a:custGeom>
                <a:solidFill>
                  <a:srgbClr val="05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31" name="Freeform 31">
                  <a:extLst>
                    <a:ext uri="{FF2B5EF4-FFF2-40B4-BE49-F238E27FC236}">
                      <a16:creationId xmlns:a16="http://schemas.microsoft.com/office/drawing/2014/main" id="{981B15FA-4779-41C1-A9CB-8D786404A642}"/>
                    </a:ext>
                  </a:extLst>
                </p:cNvPr>
                <p:cNvSpPr>
                  <a:spLocks/>
                </p:cNvSpPr>
                <p:nvPr/>
              </p:nvSpPr>
              <p:spPr bwMode="auto">
                <a:xfrm>
                  <a:off x="5808662" y="3076575"/>
                  <a:ext cx="576262" cy="819151"/>
                </a:xfrm>
                <a:custGeom>
                  <a:avLst/>
                  <a:gdLst>
                    <a:gd name="connsiteX0" fmla="*/ 19964 w 576262"/>
                    <a:gd name="connsiteY0" fmla="*/ 779463 h 819151"/>
                    <a:gd name="connsiteX1" fmla="*/ 554711 w 576262"/>
                    <a:gd name="connsiteY1" fmla="*/ 779463 h 819151"/>
                    <a:gd name="connsiteX2" fmla="*/ 574675 w 576262"/>
                    <a:gd name="connsiteY2" fmla="*/ 798946 h 819151"/>
                    <a:gd name="connsiteX3" fmla="*/ 554711 w 576262"/>
                    <a:gd name="connsiteY3" fmla="*/ 819151 h 819151"/>
                    <a:gd name="connsiteX4" fmla="*/ 19964 w 576262"/>
                    <a:gd name="connsiteY4" fmla="*/ 819151 h 819151"/>
                    <a:gd name="connsiteX5" fmla="*/ 0 w 576262"/>
                    <a:gd name="connsiteY5" fmla="*/ 798946 h 819151"/>
                    <a:gd name="connsiteX6" fmla="*/ 19964 w 576262"/>
                    <a:gd name="connsiteY6" fmla="*/ 779463 h 819151"/>
                    <a:gd name="connsiteX7" fmla="*/ 19896 w 576262"/>
                    <a:gd name="connsiteY7" fmla="*/ 649288 h 819151"/>
                    <a:gd name="connsiteX8" fmla="*/ 99483 w 576262"/>
                    <a:gd name="connsiteY8" fmla="*/ 649288 h 819151"/>
                    <a:gd name="connsiteX9" fmla="*/ 149225 w 576262"/>
                    <a:gd name="connsiteY9" fmla="*/ 688976 h 819151"/>
                    <a:gd name="connsiteX10" fmla="*/ 19896 w 576262"/>
                    <a:gd name="connsiteY10" fmla="*/ 688976 h 819151"/>
                    <a:gd name="connsiteX11" fmla="*/ 0 w 576262"/>
                    <a:gd name="connsiteY11" fmla="*/ 669493 h 819151"/>
                    <a:gd name="connsiteX12" fmla="*/ 19896 w 576262"/>
                    <a:gd name="connsiteY12" fmla="*/ 649288 h 819151"/>
                    <a:gd name="connsiteX13" fmla="*/ 127000 w 576262"/>
                    <a:gd name="connsiteY13" fmla="*/ 538163 h 819151"/>
                    <a:gd name="connsiteX14" fmla="*/ 136993 w 576262"/>
                    <a:gd name="connsiteY14" fmla="*/ 538163 h 819151"/>
                    <a:gd name="connsiteX15" fmla="*/ 528170 w 576262"/>
                    <a:gd name="connsiteY15" fmla="*/ 538163 h 819151"/>
                    <a:gd name="connsiteX16" fmla="*/ 538163 w 576262"/>
                    <a:gd name="connsiteY16" fmla="*/ 538163 h 819151"/>
                    <a:gd name="connsiteX17" fmla="*/ 523173 w 576262"/>
                    <a:gd name="connsiteY17" fmla="*/ 559209 h 819151"/>
                    <a:gd name="connsiteX18" fmla="*/ 494620 w 576262"/>
                    <a:gd name="connsiteY18" fmla="*/ 588963 h 819151"/>
                    <a:gd name="connsiteX19" fmla="*/ 481057 w 576262"/>
                    <a:gd name="connsiteY19" fmla="*/ 588963 h 819151"/>
                    <a:gd name="connsiteX20" fmla="*/ 183392 w 576262"/>
                    <a:gd name="connsiteY20" fmla="*/ 588963 h 819151"/>
                    <a:gd name="connsiteX21" fmla="*/ 169830 w 576262"/>
                    <a:gd name="connsiteY21" fmla="*/ 588963 h 819151"/>
                    <a:gd name="connsiteX22" fmla="*/ 141990 w 576262"/>
                    <a:gd name="connsiteY22" fmla="*/ 559209 h 819151"/>
                    <a:gd name="connsiteX23" fmla="*/ 127000 w 576262"/>
                    <a:gd name="connsiteY23" fmla="*/ 538163 h 819151"/>
                    <a:gd name="connsiteX24" fmla="*/ 15153 w 576262"/>
                    <a:gd name="connsiteY24" fmla="*/ 520700 h 819151"/>
                    <a:gd name="connsiteX25" fmla="*/ 31750 w 576262"/>
                    <a:gd name="connsiteY25" fmla="*/ 558800 h 819151"/>
                    <a:gd name="connsiteX26" fmla="*/ 20204 w 576262"/>
                    <a:gd name="connsiteY26" fmla="*/ 558800 h 819151"/>
                    <a:gd name="connsiteX27" fmla="*/ 0 w 576262"/>
                    <a:gd name="connsiteY27" fmla="*/ 539045 h 819151"/>
                    <a:gd name="connsiteX28" fmla="*/ 15153 w 576262"/>
                    <a:gd name="connsiteY28" fmla="*/ 520700 h 819151"/>
                    <a:gd name="connsiteX29" fmla="*/ 87312 w 576262"/>
                    <a:gd name="connsiteY29" fmla="*/ 422275 h 819151"/>
                    <a:gd name="connsiteX30" fmla="*/ 95877 w 576262"/>
                    <a:gd name="connsiteY30" fmla="*/ 422275 h 819151"/>
                    <a:gd name="connsiteX31" fmla="*/ 568410 w 576262"/>
                    <a:gd name="connsiteY31" fmla="*/ 422275 h 819151"/>
                    <a:gd name="connsiteX32" fmla="*/ 569838 w 576262"/>
                    <a:gd name="connsiteY32" fmla="*/ 422275 h 819151"/>
                    <a:gd name="connsiteX33" fmla="*/ 576262 w 576262"/>
                    <a:gd name="connsiteY33" fmla="*/ 422275 h 819151"/>
                    <a:gd name="connsiteX34" fmla="*/ 567697 w 576262"/>
                    <a:gd name="connsiteY34" fmla="*/ 473075 h 819151"/>
                    <a:gd name="connsiteX35" fmla="*/ 559131 w 576262"/>
                    <a:gd name="connsiteY35" fmla="*/ 473075 h 819151"/>
                    <a:gd name="connsiteX36" fmla="*/ 104443 w 576262"/>
                    <a:gd name="connsiteY36" fmla="*/ 473075 h 819151"/>
                    <a:gd name="connsiteX37" fmla="*/ 96591 w 576262"/>
                    <a:gd name="connsiteY37" fmla="*/ 473075 h 819151"/>
                    <a:gd name="connsiteX38" fmla="*/ 93736 w 576262"/>
                    <a:gd name="connsiteY38" fmla="*/ 463197 h 819151"/>
                    <a:gd name="connsiteX39" fmla="*/ 88026 w 576262"/>
                    <a:gd name="connsiteY39" fmla="*/ 432153 h 819151"/>
                    <a:gd name="connsiteX40" fmla="*/ 88026 w 576262"/>
                    <a:gd name="connsiteY40" fmla="*/ 428625 h 819151"/>
                    <a:gd name="connsiteX41" fmla="*/ 87312 w 576262"/>
                    <a:gd name="connsiteY41" fmla="*/ 422275 h 819151"/>
                    <a:gd name="connsiteX42" fmla="*/ 107775 w 576262"/>
                    <a:gd name="connsiteY42" fmla="*/ 307975 h 819151"/>
                    <a:gd name="connsiteX43" fmla="*/ 117053 w 576262"/>
                    <a:gd name="connsiteY43" fmla="*/ 307975 h 819151"/>
                    <a:gd name="connsiteX44" fmla="*/ 548110 w 576262"/>
                    <a:gd name="connsiteY44" fmla="*/ 307975 h 819151"/>
                    <a:gd name="connsiteX45" fmla="*/ 556674 w 576262"/>
                    <a:gd name="connsiteY45" fmla="*/ 307975 h 819151"/>
                    <a:gd name="connsiteX46" fmla="*/ 573088 w 576262"/>
                    <a:gd name="connsiteY46" fmla="*/ 358775 h 819151"/>
                    <a:gd name="connsiteX47" fmla="*/ 564524 w 576262"/>
                    <a:gd name="connsiteY47" fmla="*/ 358775 h 819151"/>
                    <a:gd name="connsiteX48" fmla="*/ 100639 w 576262"/>
                    <a:gd name="connsiteY48" fmla="*/ 358775 h 819151"/>
                    <a:gd name="connsiteX49" fmla="*/ 92075 w 576262"/>
                    <a:gd name="connsiteY49" fmla="*/ 358775 h 819151"/>
                    <a:gd name="connsiteX50" fmla="*/ 107775 w 576262"/>
                    <a:gd name="connsiteY50" fmla="*/ 307975 h 819151"/>
                    <a:gd name="connsiteX51" fmla="*/ 19376 w 576262"/>
                    <a:gd name="connsiteY51" fmla="*/ 258763 h 819151"/>
                    <a:gd name="connsiteX52" fmla="*/ 26988 w 576262"/>
                    <a:gd name="connsiteY52" fmla="*/ 258763 h 819151"/>
                    <a:gd name="connsiteX53" fmla="*/ 26296 w 576262"/>
                    <a:gd name="connsiteY53" fmla="*/ 259482 h 819151"/>
                    <a:gd name="connsiteX54" fmla="*/ 23528 w 576262"/>
                    <a:gd name="connsiteY54" fmla="*/ 265233 h 819151"/>
                    <a:gd name="connsiteX55" fmla="*/ 11764 w 576262"/>
                    <a:gd name="connsiteY55" fmla="*/ 296863 h 819151"/>
                    <a:gd name="connsiteX56" fmla="*/ 0 w 576262"/>
                    <a:gd name="connsiteY56" fmla="*/ 278891 h 819151"/>
                    <a:gd name="connsiteX57" fmla="*/ 19376 w 576262"/>
                    <a:gd name="connsiteY57" fmla="*/ 258763 h 819151"/>
                    <a:gd name="connsiteX58" fmla="*/ 207513 w 576262"/>
                    <a:gd name="connsiteY58" fmla="*/ 195263 h 819151"/>
                    <a:gd name="connsiteX59" fmla="*/ 226809 w 576262"/>
                    <a:gd name="connsiteY59" fmla="*/ 195263 h 819151"/>
                    <a:gd name="connsiteX60" fmla="*/ 438354 w 576262"/>
                    <a:gd name="connsiteY60" fmla="*/ 195263 h 819151"/>
                    <a:gd name="connsiteX61" fmla="*/ 456936 w 576262"/>
                    <a:gd name="connsiteY61" fmla="*/ 195263 h 819151"/>
                    <a:gd name="connsiteX62" fmla="*/ 506249 w 576262"/>
                    <a:gd name="connsiteY62" fmla="*/ 233363 h 819151"/>
                    <a:gd name="connsiteX63" fmla="*/ 509822 w 576262"/>
                    <a:gd name="connsiteY63" fmla="*/ 236185 h 819151"/>
                    <a:gd name="connsiteX64" fmla="*/ 519113 w 576262"/>
                    <a:gd name="connsiteY64" fmla="*/ 246063 h 819151"/>
                    <a:gd name="connsiteX65" fmla="*/ 506249 w 576262"/>
                    <a:gd name="connsiteY65" fmla="*/ 246063 h 819151"/>
                    <a:gd name="connsiteX66" fmla="*/ 158200 w 576262"/>
                    <a:gd name="connsiteY66" fmla="*/ 246063 h 819151"/>
                    <a:gd name="connsiteX67" fmla="*/ 146050 w 576262"/>
                    <a:gd name="connsiteY67" fmla="*/ 246063 h 819151"/>
                    <a:gd name="connsiteX68" fmla="*/ 155341 w 576262"/>
                    <a:gd name="connsiteY68" fmla="*/ 236185 h 819151"/>
                    <a:gd name="connsiteX69" fmla="*/ 175352 w 576262"/>
                    <a:gd name="connsiteY69" fmla="*/ 217841 h 819151"/>
                    <a:gd name="connsiteX70" fmla="*/ 207513 w 576262"/>
                    <a:gd name="connsiteY70" fmla="*/ 195263 h 819151"/>
                    <a:gd name="connsiteX71" fmla="*/ 527050 w 576262"/>
                    <a:gd name="connsiteY71" fmla="*/ 130175 h 819151"/>
                    <a:gd name="connsiteX72" fmla="*/ 554772 w 576262"/>
                    <a:gd name="connsiteY72" fmla="*/ 130175 h 819151"/>
                    <a:gd name="connsiteX73" fmla="*/ 574675 w 576262"/>
                    <a:gd name="connsiteY73" fmla="*/ 148927 h 819151"/>
                    <a:gd name="connsiteX74" fmla="*/ 568278 w 576262"/>
                    <a:gd name="connsiteY74" fmla="*/ 163513 h 819151"/>
                    <a:gd name="connsiteX75" fmla="*/ 537713 w 576262"/>
                    <a:gd name="connsiteY75" fmla="*/ 137815 h 819151"/>
                    <a:gd name="connsiteX76" fmla="*/ 527050 w 576262"/>
                    <a:gd name="connsiteY76" fmla="*/ 130175 h 819151"/>
                    <a:gd name="connsiteX77" fmla="*/ 20037 w 576262"/>
                    <a:gd name="connsiteY77" fmla="*/ 130175 h 819151"/>
                    <a:gd name="connsiteX78" fmla="*/ 138113 w 576262"/>
                    <a:gd name="connsiteY78" fmla="*/ 130175 h 819151"/>
                    <a:gd name="connsiteX79" fmla="*/ 127379 w 576262"/>
                    <a:gd name="connsiteY79" fmla="*/ 137795 h 819151"/>
                    <a:gd name="connsiteX80" fmla="*/ 98754 w 576262"/>
                    <a:gd name="connsiteY80" fmla="*/ 161348 h 819151"/>
                    <a:gd name="connsiteX81" fmla="*/ 91598 w 576262"/>
                    <a:gd name="connsiteY81" fmla="*/ 168275 h 819151"/>
                    <a:gd name="connsiteX82" fmla="*/ 20037 w 576262"/>
                    <a:gd name="connsiteY82" fmla="*/ 168275 h 819151"/>
                    <a:gd name="connsiteX83" fmla="*/ 0 w 576262"/>
                    <a:gd name="connsiteY83" fmla="*/ 148879 h 819151"/>
                    <a:gd name="connsiteX84" fmla="*/ 20037 w 576262"/>
                    <a:gd name="connsiteY84" fmla="*/ 130175 h 819151"/>
                    <a:gd name="connsiteX85" fmla="*/ 19964 w 576262"/>
                    <a:gd name="connsiteY85" fmla="*/ 0 h 819151"/>
                    <a:gd name="connsiteX86" fmla="*/ 554711 w 576262"/>
                    <a:gd name="connsiteY86" fmla="*/ 0 h 819151"/>
                    <a:gd name="connsiteX87" fmla="*/ 574675 w 576262"/>
                    <a:gd name="connsiteY87" fmla="*/ 20205 h 819151"/>
                    <a:gd name="connsiteX88" fmla="*/ 554711 w 576262"/>
                    <a:gd name="connsiteY88" fmla="*/ 39688 h 819151"/>
                    <a:gd name="connsiteX89" fmla="*/ 19964 w 576262"/>
                    <a:gd name="connsiteY89" fmla="*/ 39688 h 819151"/>
                    <a:gd name="connsiteX90" fmla="*/ 0 w 576262"/>
                    <a:gd name="connsiteY90" fmla="*/ 20205 h 819151"/>
                    <a:gd name="connsiteX91" fmla="*/ 19964 w 576262"/>
                    <a:gd name="connsiteY91" fmla="*/ 0 h 8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76262" h="819151">
                      <a:moveTo>
                        <a:pt x="19964" y="779463"/>
                      </a:moveTo>
                      <a:cubicBezTo>
                        <a:pt x="554711" y="779463"/>
                        <a:pt x="554711" y="779463"/>
                        <a:pt x="554711" y="779463"/>
                      </a:cubicBezTo>
                      <a:cubicBezTo>
                        <a:pt x="566832" y="779463"/>
                        <a:pt x="574675" y="788122"/>
                        <a:pt x="574675" y="798946"/>
                      </a:cubicBezTo>
                      <a:cubicBezTo>
                        <a:pt x="574675" y="809770"/>
                        <a:pt x="566832" y="819151"/>
                        <a:pt x="554711" y="819151"/>
                      </a:cubicBezTo>
                      <a:cubicBezTo>
                        <a:pt x="19964" y="819151"/>
                        <a:pt x="19964" y="819151"/>
                        <a:pt x="19964" y="819151"/>
                      </a:cubicBezTo>
                      <a:cubicBezTo>
                        <a:pt x="9269" y="819151"/>
                        <a:pt x="0" y="809770"/>
                        <a:pt x="0" y="798946"/>
                      </a:cubicBezTo>
                      <a:cubicBezTo>
                        <a:pt x="0" y="788122"/>
                        <a:pt x="9269" y="779463"/>
                        <a:pt x="19964" y="779463"/>
                      </a:cubicBezTo>
                      <a:close/>
                      <a:moveTo>
                        <a:pt x="19896" y="649288"/>
                      </a:moveTo>
                      <a:cubicBezTo>
                        <a:pt x="47610" y="649288"/>
                        <a:pt x="73902" y="649288"/>
                        <a:pt x="99483" y="649288"/>
                      </a:cubicBezTo>
                      <a:cubicBezTo>
                        <a:pt x="115116" y="664442"/>
                        <a:pt x="131460" y="677431"/>
                        <a:pt x="149225" y="688976"/>
                      </a:cubicBezTo>
                      <a:cubicBezTo>
                        <a:pt x="19896" y="688976"/>
                        <a:pt x="19896" y="688976"/>
                        <a:pt x="19896" y="688976"/>
                      </a:cubicBezTo>
                      <a:cubicBezTo>
                        <a:pt x="9237" y="688976"/>
                        <a:pt x="0" y="681039"/>
                        <a:pt x="0" y="669493"/>
                      </a:cubicBezTo>
                      <a:cubicBezTo>
                        <a:pt x="0" y="658669"/>
                        <a:pt x="9237" y="649288"/>
                        <a:pt x="19896" y="649288"/>
                      </a:cubicBezTo>
                      <a:close/>
                      <a:moveTo>
                        <a:pt x="127000" y="538163"/>
                      </a:moveTo>
                      <a:cubicBezTo>
                        <a:pt x="127000" y="538163"/>
                        <a:pt x="127000" y="538163"/>
                        <a:pt x="136993" y="538163"/>
                      </a:cubicBezTo>
                      <a:cubicBezTo>
                        <a:pt x="136993" y="538163"/>
                        <a:pt x="136993" y="538163"/>
                        <a:pt x="528170" y="538163"/>
                      </a:cubicBezTo>
                      <a:cubicBezTo>
                        <a:pt x="528170" y="538163"/>
                        <a:pt x="528170" y="538163"/>
                        <a:pt x="538163" y="538163"/>
                      </a:cubicBezTo>
                      <a:cubicBezTo>
                        <a:pt x="533166" y="545420"/>
                        <a:pt x="528170" y="552677"/>
                        <a:pt x="523173" y="559209"/>
                      </a:cubicBezTo>
                      <a:cubicBezTo>
                        <a:pt x="514607" y="570095"/>
                        <a:pt x="504613" y="580255"/>
                        <a:pt x="494620" y="588963"/>
                      </a:cubicBezTo>
                      <a:cubicBezTo>
                        <a:pt x="494620" y="588963"/>
                        <a:pt x="494620" y="588963"/>
                        <a:pt x="481057" y="588963"/>
                      </a:cubicBezTo>
                      <a:cubicBezTo>
                        <a:pt x="481057" y="588963"/>
                        <a:pt x="481057" y="588963"/>
                        <a:pt x="183392" y="588963"/>
                      </a:cubicBezTo>
                      <a:cubicBezTo>
                        <a:pt x="183392" y="588963"/>
                        <a:pt x="183392" y="588963"/>
                        <a:pt x="169830" y="588963"/>
                      </a:cubicBezTo>
                      <a:cubicBezTo>
                        <a:pt x="159836" y="580255"/>
                        <a:pt x="150556" y="570095"/>
                        <a:pt x="141990" y="559209"/>
                      </a:cubicBezTo>
                      <a:cubicBezTo>
                        <a:pt x="136279" y="552677"/>
                        <a:pt x="131283" y="545420"/>
                        <a:pt x="127000" y="538163"/>
                      </a:cubicBezTo>
                      <a:close/>
                      <a:moveTo>
                        <a:pt x="15153" y="520700"/>
                      </a:moveTo>
                      <a:cubicBezTo>
                        <a:pt x="19483" y="533400"/>
                        <a:pt x="25255" y="546100"/>
                        <a:pt x="31750" y="558800"/>
                      </a:cubicBezTo>
                      <a:cubicBezTo>
                        <a:pt x="20204" y="558800"/>
                        <a:pt x="20204" y="558800"/>
                        <a:pt x="20204" y="558800"/>
                      </a:cubicBezTo>
                      <a:cubicBezTo>
                        <a:pt x="9380" y="558800"/>
                        <a:pt x="0" y="549628"/>
                        <a:pt x="0" y="539045"/>
                      </a:cubicBezTo>
                      <a:cubicBezTo>
                        <a:pt x="0" y="530578"/>
                        <a:pt x="6494" y="522817"/>
                        <a:pt x="15153" y="520700"/>
                      </a:cubicBezTo>
                      <a:close/>
                      <a:moveTo>
                        <a:pt x="87312" y="422275"/>
                      </a:moveTo>
                      <a:cubicBezTo>
                        <a:pt x="87312" y="422275"/>
                        <a:pt x="87312" y="422275"/>
                        <a:pt x="95877" y="422275"/>
                      </a:cubicBezTo>
                      <a:cubicBezTo>
                        <a:pt x="95877" y="422275"/>
                        <a:pt x="95877" y="422275"/>
                        <a:pt x="568410" y="422275"/>
                      </a:cubicBezTo>
                      <a:lnTo>
                        <a:pt x="569838" y="422275"/>
                      </a:lnTo>
                      <a:cubicBezTo>
                        <a:pt x="569838" y="422275"/>
                        <a:pt x="569838" y="422275"/>
                        <a:pt x="576262" y="422275"/>
                      </a:cubicBezTo>
                      <a:cubicBezTo>
                        <a:pt x="575548" y="439914"/>
                        <a:pt x="571979" y="456847"/>
                        <a:pt x="567697" y="473075"/>
                      </a:cubicBezTo>
                      <a:cubicBezTo>
                        <a:pt x="567697" y="473075"/>
                        <a:pt x="567697" y="473075"/>
                        <a:pt x="559131" y="473075"/>
                      </a:cubicBezTo>
                      <a:cubicBezTo>
                        <a:pt x="559131" y="473075"/>
                        <a:pt x="559131" y="473075"/>
                        <a:pt x="104443" y="473075"/>
                      </a:cubicBezTo>
                      <a:cubicBezTo>
                        <a:pt x="104443" y="473075"/>
                        <a:pt x="104443" y="473075"/>
                        <a:pt x="96591" y="473075"/>
                      </a:cubicBezTo>
                      <a:cubicBezTo>
                        <a:pt x="95877" y="469547"/>
                        <a:pt x="94450" y="466725"/>
                        <a:pt x="93736" y="463197"/>
                      </a:cubicBezTo>
                      <a:cubicBezTo>
                        <a:pt x="91595" y="453320"/>
                        <a:pt x="89453" y="442736"/>
                        <a:pt x="88026" y="432153"/>
                      </a:cubicBezTo>
                      <a:cubicBezTo>
                        <a:pt x="88026" y="430742"/>
                        <a:pt x="88026" y="429331"/>
                        <a:pt x="88026" y="428625"/>
                      </a:cubicBezTo>
                      <a:cubicBezTo>
                        <a:pt x="88026" y="426508"/>
                        <a:pt x="87312" y="424392"/>
                        <a:pt x="87312" y="422275"/>
                      </a:cubicBezTo>
                      <a:close/>
                      <a:moveTo>
                        <a:pt x="107775" y="307975"/>
                      </a:moveTo>
                      <a:cubicBezTo>
                        <a:pt x="107775" y="307975"/>
                        <a:pt x="107775" y="307975"/>
                        <a:pt x="117053" y="307975"/>
                      </a:cubicBezTo>
                      <a:cubicBezTo>
                        <a:pt x="117053" y="307975"/>
                        <a:pt x="117053" y="307975"/>
                        <a:pt x="548110" y="307975"/>
                      </a:cubicBezTo>
                      <a:cubicBezTo>
                        <a:pt x="548110" y="307975"/>
                        <a:pt x="548110" y="307975"/>
                        <a:pt x="556674" y="307975"/>
                      </a:cubicBezTo>
                      <a:cubicBezTo>
                        <a:pt x="563811" y="324203"/>
                        <a:pt x="569520" y="341136"/>
                        <a:pt x="573088" y="358775"/>
                      </a:cubicBezTo>
                      <a:cubicBezTo>
                        <a:pt x="573088" y="358775"/>
                        <a:pt x="573088" y="358775"/>
                        <a:pt x="564524" y="358775"/>
                      </a:cubicBezTo>
                      <a:lnTo>
                        <a:pt x="100639" y="358775"/>
                      </a:lnTo>
                      <a:cubicBezTo>
                        <a:pt x="100639" y="358775"/>
                        <a:pt x="100639" y="358775"/>
                        <a:pt x="92075" y="358775"/>
                      </a:cubicBezTo>
                      <a:cubicBezTo>
                        <a:pt x="95643" y="341136"/>
                        <a:pt x="100639" y="324203"/>
                        <a:pt x="107775" y="307975"/>
                      </a:cubicBezTo>
                      <a:close/>
                      <a:moveTo>
                        <a:pt x="19376" y="258763"/>
                      </a:moveTo>
                      <a:cubicBezTo>
                        <a:pt x="21452" y="258763"/>
                        <a:pt x="24220" y="258763"/>
                        <a:pt x="26988" y="258763"/>
                      </a:cubicBezTo>
                      <a:cubicBezTo>
                        <a:pt x="26988" y="258763"/>
                        <a:pt x="26988" y="258763"/>
                        <a:pt x="26296" y="259482"/>
                      </a:cubicBezTo>
                      <a:cubicBezTo>
                        <a:pt x="26296" y="259482"/>
                        <a:pt x="26296" y="259482"/>
                        <a:pt x="23528" y="265233"/>
                      </a:cubicBezTo>
                      <a:cubicBezTo>
                        <a:pt x="19376" y="276016"/>
                        <a:pt x="15224" y="286080"/>
                        <a:pt x="11764" y="296863"/>
                      </a:cubicBezTo>
                      <a:cubicBezTo>
                        <a:pt x="4844" y="293988"/>
                        <a:pt x="0" y="286799"/>
                        <a:pt x="0" y="278891"/>
                      </a:cubicBezTo>
                      <a:cubicBezTo>
                        <a:pt x="0" y="268108"/>
                        <a:pt x="8996" y="258763"/>
                        <a:pt x="19376" y="258763"/>
                      </a:cubicBezTo>
                      <a:close/>
                      <a:moveTo>
                        <a:pt x="207513" y="195263"/>
                      </a:moveTo>
                      <a:cubicBezTo>
                        <a:pt x="207513" y="195263"/>
                        <a:pt x="207513" y="195263"/>
                        <a:pt x="226809" y="195263"/>
                      </a:cubicBezTo>
                      <a:cubicBezTo>
                        <a:pt x="226809" y="195263"/>
                        <a:pt x="226809" y="195263"/>
                        <a:pt x="438354" y="195263"/>
                      </a:cubicBezTo>
                      <a:cubicBezTo>
                        <a:pt x="438354" y="195263"/>
                        <a:pt x="438354" y="195263"/>
                        <a:pt x="456936" y="195263"/>
                      </a:cubicBezTo>
                      <a:cubicBezTo>
                        <a:pt x="475518" y="205846"/>
                        <a:pt x="491955" y="218546"/>
                        <a:pt x="506249" y="233363"/>
                      </a:cubicBezTo>
                      <a:cubicBezTo>
                        <a:pt x="507678" y="234069"/>
                        <a:pt x="508393" y="235480"/>
                        <a:pt x="509822" y="236185"/>
                      </a:cubicBezTo>
                      <a:cubicBezTo>
                        <a:pt x="512681" y="239713"/>
                        <a:pt x="515540" y="243241"/>
                        <a:pt x="519113" y="246063"/>
                      </a:cubicBezTo>
                      <a:lnTo>
                        <a:pt x="506249" y="246063"/>
                      </a:lnTo>
                      <a:cubicBezTo>
                        <a:pt x="506249" y="246063"/>
                        <a:pt x="506249" y="246063"/>
                        <a:pt x="158200" y="246063"/>
                      </a:cubicBezTo>
                      <a:cubicBezTo>
                        <a:pt x="158200" y="246063"/>
                        <a:pt x="158200" y="246063"/>
                        <a:pt x="146050" y="246063"/>
                      </a:cubicBezTo>
                      <a:cubicBezTo>
                        <a:pt x="148909" y="243241"/>
                        <a:pt x="151768" y="239713"/>
                        <a:pt x="155341" y="236185"/>
                      </a:cubicBezTo>
                      <a:cubicBezTo>
                        <a:pt x="161773" y="229835"/>
                        <a:pt x="168205" y="223485"/>
                        <a:pt x="175352" y="217841"/>
                      </a:cubicBezTo>
                      <a:cubicBezTo>
                        <a:pt x="185358" y="209374"/>
                        <a:pt x="196078" y="202319"/>
                        <a:pt x="207513" y="195263"/>
                      </a:cubicBezTo>
                      <a:close/>
                      <a:moveTo>
                        <a:pt x="527050" y="130175"/>
                      </a:moveTo>
                      <a:cubicBezTo>
                        <a:pt x="554772" y="130175"/>
                        <a:pt x="554772" y="130175"/>
                        <a:pt x="554772" y="130175"/>
                      </a:cubicBezTo>
                      <a:cubicBezTo>
                        <a:pt x="566856" y="130175"/>
                        <a:pt x="574675" y="138509"/>
                        <a:pt x="574675" y="148927"/>
                      </a:cubicBezTo>
                      <a:cubicBezTo>
                        <a:pt x="574675" y="154484"/>
                        <a:pt x="571832" y="160040"/>
                        <a:pt x="568278" y="163513"/>
                      </a:cubicBezTo>
                      <a:cubicBezTo>
                        <a:pt x="558326" y="153789"/>
                        <a:pt x="548375" y="145455"/>
                        <a:pt x="537713" y="137815"/>
                      </a:cubicBezTo>
                      <a:cubicBezTo>
                        <a:pt x="534158" y="135037"/>
                        <a:pt x="530604" y="132258"/>
                        <a:pt x="527050" y="130175"/>
                      </a:cubicBezTo>
                      <a:close/>
                      <a:moveTo>
                        <a:pt x="20037" y="130175"/>
                      </a:moveTo>
                      <a:cubicBezTo>
                        <a:pt x="62258" y="130175"/>
                        <a:pt x="101617" y="130175"/>
                        <a:pt x="138113" y="130175"/>
                      </a:cubicBezTo>
                      <a:cubicBezTo>
                        <a:pt x="134535" y="132253"/>
                        <a:pt x="130241" y="135024"/>
                        <a:pt x="127379" y="137795"/>
                      </a:cubicBezTo>
                      <a:cubicBezTo>
                        <a:pt x="115213" y="146108"/>
                        <a:pt x="106626" y="153728"/>
                        <a:pt x="98754" y="161348"/>
                      </a:cubicBezTo>
                      <a:cubicBezTo>
                        <a:pt x="96607" y="163426"/>
                        <a:pt x="94460" y="165504"/>
                        <a:pt x="91598" y="168275"/>
                      </a:cubicBezTo>
                      <a:cubicBezTo>
                        <a:pt x="20037" y="168275"/>
                        <a:pt x="20037" y="168275"/>
                        <a:pt x="20037" y="168275"/>
                      </a:cubicBezTo>
                      <a:cubicBezTo>
                        <a:pt x="9303" y="168275"/>
                        <a:pt x="0" y="159269"/>
                        <a:pt x="0" y="148879"/>
                      </a:cubicBezTo>
                      <a:cubicBezTo>
                        <a:pt x="0" y="138488"/>
                        <a:pt x="9303" y="130175"/>
                        <a:pt x="20037" y="130175"/>
                      </a:cubicBezTo>
                      <a:close/>
                      <a:moveTo>
                        <a:pt x="19964" y="0"/>
                      </a:moveTo>
                      <a:cubicBezTo>
                        <a:pt x="554711" y="0"/>
                        <a:pt x="554711" y="0"/>
                        <a:pt x="554711" y="0"/>
                      </a:cubicBezTo>
                      <a:cubicBezTo>
                        <a:pt x="566832" y="0"/>
                        <a:pt x="574675" y="7937"/>
                        <a:pt x="574675" y="20205"/>
                      </a:cubicBezTo>
                      <a:cubicBezTo>
                        <a:pt x="574675" y="31029"/>
                        <a:pt x="566832" y="39688"/>
                        <a:pt x="554711" y="39688"/>
                      </a:cubicBezTo>
                      <a:cubicBezTo>
                        <a:pt x="19964" y="39688"/>
                        <a:pt x="19964" y="39688"/>
                        <a:pt x="19964" y="39688"/>
                      </a:cubicBezTo>
                      <a:cubicBezTo>
                        <a:pt x="9269" y="39688"/>
                        <a:pt x="0" y="31029"/>
                        <a:pt x="0" y="20205"/>
                      </a:cubicBezTo>
                      <a:cubicBezTo>
                        <a:pt x="0" y="7937"/>
                        <a:pt x="9269" y="0"/>
                        <a:pt x="19964" y="0"/>
                      </a:cubicBezTo>
                      <a:close/>
                    </a:path>
                  </a:pathLst>
                </a:custGeom>
                <a:solidFill>
                  <a:srgbClr val="0A3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grpSp>
      <p:sp>
        <p:nvSpPr>
          <p:cNvPr id="47" name="Oval 20">
            <a:extLst>
              <a:ext uri="{FF2B5EF4-FFF2-40B4-BE49-F238E27FC236}">
                <a16:creationId xmlns:a16="http://schemas.microsoft.com/office/drawing/2014/main" id="{2E1EED20-5566-4F71-A2BC-0C2E121E0AAA}"/>
              </a:ext>
            </a:extLst>
          </p:cNvPr>
          <p:cNvSpPr>
            <a:spLocks noChangeAspect="1" noChangeArrowheads="1"/>
          </p:cNvSpPr>
          <p:nvPr/>
        </p:nvSpPr>
        <p:spPr bwMode="auto">
          <a:xfrm>
            <a:off x="2918442" y="2277846"/>
            <a:ext cx="306910" cy="306910"/>
          </a:xfrm>
          <a:prstGeom prst="ellipse">
            <a:avLst/>
          </a:prstGeom>
          <a:solidFill>
            <a:srgbClr val="12284C">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100000"/>
                  </a:srgbClr>
                </a:solidFill>
                <a:effectLst/>
                <a:uLnTx/>
                <a:uFillTx/>
                <a:latin typeface="Open Sans"/>
                <a:ea typeface="+mn-ea"/>
                <a:cs typeface="+mn-cs"/>
              </a:rPr>
              <a:t>2</a:t>
            </a:r>
          </a:p>
        </p:txBody>
      </p:sp>
      <p:sp>
        <p:nvSpPr>
          <p:cNvPr id="50" name="Rectangle: Rounded Corners 49">
            <a:extLst>
              <a:ext uri="{FF2B5EF4-FFF2-40B4-BE49-F238E27FC236}">
                <a16:creationId xmlns:a16="http://schemas.microsoft.com/office/drawing/2014/main" id="{AA4020C8-7DAD-4D21-9C16-4756EBD5B193}"/>
              </a:ext>
            </a:extLst>
          </p:cNvPr>
          <p:cNvSpPr/>
          <p:nvPr/>
        </p:nvSpPr>
        <p:spPr>
          <a:xfrm>
            <a:off x="4386911" y="2911796"/>
            <a:ext cx="2152649" cy="2428907"/>
          </a:xfrm>
          <a:prstGeom prst="roundRect">
            <a:avLst/>
          </a:prstGeom>
          <a:solidFill>
            <a:schemeClr val="accent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Application review </a:t>
            </a:r>
            <a:r>
              <a:rPr kumimoji="0" lang="en-US" sz="1600" b="0" i="0" u="none" strike="noStrike" kern="1200" cap="none" spc="0" normalizeH="0" baseline="0" noProof="0" dirty="0">
                <a:ln>
                  <a:noFill/>
                </a:ln>
                <a:solidFill>
                  <a:srgbClr val="000000"/>
                </a:solidFill>
                <a:effectLst/>
                <a:uLnTx/>
                <a:uFillTx/>
                <a:latin typeface="Open Sans"/>
                <a:ea typeface="+mn-ea"/>
                <a:cs typeface="+mn-cs"/>
              </a:rPr>
              <a:t>to assess direct relationship to COVID-related need and potential impact of requested investments</a:t>
            </a:r>
          </a:p>
        </p:txBody>
      </p:sp>
      <p:sp>
        <p:nvSpPr>
          <p:cNvPr id="63" name="Oval 62">
            <a:extLst>
              <a:ext uri="{FF2B5EF4-FFF2-40B4-BE49-F238E27FC236}">
                <a16:creationId xmlns:a16="http://schemas.microsoft.com/office/drawing/2014/main" id="{2C9D892F-BECB-432D-A82C-A0DA1A8C462E}"/>
              </a:ext>
            </a:extLst>
          </p:cNvPr>
          <p:cNvSpPr/>
          <p:nvPr/>
        </p:nvSpPr>
        <p:spPr>
          <a:xfrm>
            <a:off x="5222596" y="2634127"/>
            <a:ext cx="481278" cy="481278"/>
          </a:xfrm>
          <a:prstGeom prst="ellipse">
            <a:avLst/>
          </a:prstGeom>
          <a:solidFill>
            <a:srgbClr val="FFFFFF"/>
          </a:solidFill>
          <a:ln w="19050" cap="rnd" cmpd="sng" algn="ctr">
            <a:solidFill>
              <a:srgbClr val="EDAE1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58" name="Group 57">
            <a:extLst>
              <a:ext uri="{FF2B5EF4-FFF2-40B4-BE49-F238E27FC236}">
                <a16:creationId xmlns:a16="http://schemas.microsoft.com/office/drawing/2014/main" id="{124A9A61-74EB-4C25-88B1-8F5CAE00B39F}"/>
              </a:ext>
            </a:extLst>
          </p:cNvPr>
          <p:cNvGrpSpPr>
            <a:grpSpLocks noChangeAspect="1"/>
          </p:cNvGrpSpPr>
          <p:nvPr/>
        </p:nvGrpSpPr>
        <p:grpSpPr>
          <a:xfrm>
            <a:off x="5254045" y="2653243"/>
            <a:ext cx="418380" cy="418380"/>
            <a:chOff x="5273675" y="2606675"/>
            <a:chExt cx="1644650" cy="1644650"/>
          </a:xfrm>
        </p:grpSpPr>
        <p:sp>
          <p:nvSpPr>
            <p:cNvPr id="59" name="AutoShape 3">
              <a:extLst>
                <a:ext uri="{FF2B5EF4-FFF2-40B4-BE49-F238E27FC236}">
                  <a16:creationId xmlns:a16="http://schemas.microsoft.com/office/drawing/2014/main" id="{19C52C58-2DF0-4DC7-A70D-3F20F45469F0}"/>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nvGrpSpPr>
            <p:cNvPr id="60" name="Group 59">
              <a:extLst>
                <a:ext uri="{FF2B5EF4-FFF2-40B4-BE49-F238E27FC236}">
                  <a16:creationId xmlns:a16="http://schemas.microsoft.com/office/drawing/2014/main" id="{C0355473-877B-4349-A83D-F3762B3E86A6}"/>
                </a:ext>
              </a:extLst>
            </p:cNvPr>
            <p:cNvGrpSpPr/>
            <p:nvPr/>
          </p:nvGrpSpPr>
          <p:grpSpPr>
            <a:xfrm>
              <a:off x="5441950" y="2876549"/>
              <a:ext cx="1308101" cy="1096857"/>
              <a:chOff x="5441950" y="2876549"/>
              <a:chExt cx="1308101" cy="1096857"/>
            </a:xfrm>
          </p:grpSpPr>
          <p:sp>
            <p:nvSpPr>
              <p:cNvPr id="61" name="Freeform 10">
                <a:extLst>
                  <a:ext uri="{FF2B5EF4-FFF2-40B4-BE49-F238E27FC236}">
                    <a16:creationId xmlns:a16="http://schemas.microsoft.com/office/drawing/2014/main" id="{C05F9A06-E5DD-45A0-916C-D7DC753EE643}"/>
                  </a:ext>
                </a:extLst>
              </p:cNvPr>
              <p:cNvSpPr>
                <a:spLocks/>
              </p:cNvSpPr>
              <p:nvPr/>
            </p:nvSpPr>
            <p:spPr bwMode="auto">
              <a:xfrm>
                <a:off x="5441950" y="3078163"/>
                <a:ext cx="341313" cy="895243"/>
              </a:xfrm>
              <a:custGeom>
                <a:avLst/>
                <a:gdLst>
                  <a:gd name="connsiteX0" fmla="*/ 0 w 341313"/>
                  <a:gd name="connsiteY0" fmla="*/ 468312 h 895243"/>
                  <a:gd name="connsiteX1" fmla="*/ 223547 w 341313"/>
                  <a:gd name="connsiteY1" fmla="*/ 468312 h 895243"/>
                  <a:gd name="connsiteX2" fmla="*/ 224261 w 341313"/>
                  <a:gd name="connsiteY2" fmla="*/ 488315 h 895243"/>
                  <a:gd name="connsiteX3" fmla="*/ 227832 w 341313"/>
                  <a:gd name="connsiteY3" fmla="*/ 517604 h 895243"/>
                  <a:gd name="connsiteX4" fmla="*/ 233546 w 341313"/>
                  <a:gd name="connsiteY4" fmla="*/ 546179 h 895243"/>
                  <a:gd name="connsiteX5" fmla="*/ 237831 w 341313"/>
                  <a:gd name="connsiteY5" fmla="*/ 565467 h 895243"/>
                  <a:gd name="connsiteX6" fmla="*/ 243545 w 341313"/>
                  <a:gd name="connsiteY6" fmla="*/ 584041 h 895243"/>
                  <a:gd name="connsiteX7" fmla="*/ 249973 w 341313"/>
                  <a:gd name="connsiteY7" fmla="*/ 602615 h 895243"/>
                  <a:gd name="connsiteX8" fmla="*/ 264257 w 341313"/>
                  <a:gd name="connsiteY8" fmla="*/ 636905 h 895243"/>
                  <a:gd name="connsiteX9" fmla="*/ 272827 w 341313"/>
                  <a:gd name="connsiteY9" fmla="*/ 653335 h 895243"/>
                  <a:gd name="connsiteX10" fmla="*/ 277112 w 341313"/>
                  <a:gd name="connsiteY10" fmla="*/ 661193 h 895243"/>
                  <a:gd name="connsiteX11" fmla="*/ 287111 w 341313"/>
                  <a:gd name="connsiteY11" fmla="*/ 678338 h 895243"/>
                  <a:gd name="connsiteX12" fmla="*/ 329250 w 341313"/>
                  <a:gd name="connsiteY12" fmla="*/ 734774 h 895243"/>
                  <a:gd name="connsiteX13" fmla="*/ 329250 w 341313"/>
                  <a:gd name="connsiteY13" fmla="*/ 756205 h 895243"/>
                  <a:gd name="connsiteX14" fmla="*/ 192836 w 341313"/>
                  <a:gd name="connsiteY14" fmla="*/ 890508 h 895243"/>
                  <a:gd name="connsiteX15" fmla="*/ 169981 w 341313"/>
                  <a:gd name="connsiteY15" fmla="*/ 889793 h 895243"/>
                  <a:gd name="connsiteX16" fmla="*/ 84277 w 341313"/>
                  <a:gd name="connsiteY16" fmla="*/ 772636 h 895243"/>
                  <a:gd name="connsiteX17" fmla="*/ 77135 w 341313"/>
                  <a:gd name="connsiteY17" fmla="*/ 759777 h 895243"/>
                  <a:gd name="connsiteX18" fmla="*/ 63565 w 341313"/>
                  <a:gd name="connsiteY18" fmla="*/ 733345 h 895243"/>
                  <a:gd name="connsiteX19" fmla="*/ 57137 w 341313"/>
                  <a:gd name="connsiteY19" fmla="*/ 719772 h 895243"/>
                  <a:gd name="connsiteX20" fmla="*/ 45709 w 341313"/>
                  <a:gd name="connsiteY20" fmla="*/ 691912 h 895243"/>
                  <a:gd name="connsiteX21" fmla="*/ 30711 w 341313"/>
                  <a:gd name="connsiteY21" fmla="*/ 649049 h 895243"/>
                  <a:gd name="connsiteX22" fmla="*/ 22141 w 341313"/>
                  <a:gd name="connsiteY22" fmla="*/ 620474 h 895243"/>
                  <a:gd name="connsiteX23" fmla="*/ 18570 w 341313"/>
                  <a:gd name="connsiteY23" fmla="*/ 606901 h 895243"/>
                  <a:gd name="connsiteX24" fmla="*/ 11428 w 341313"/>
                  <a:gd name="connsiteY24" fmla="*/ 576897 h 895243"/>
                  <a:gd name="connsiteX25" fmla="*/ 6428 w 341313"/>
                  <a:gd name="connsiteY25" fmla="*/ 545465 h 895243"/>
                  <a:gd name="connsiteX26" fmla="*/ 2857 w 341313"/>
                  <a:gd name="connsiteY26" fmla="*/ 514747 h 895243"/>
                  <a:gd name="connsiteX27" fmla="*/ 1429 w 341313"/>
                  <a:gd name="connsiteY27" fmla="*/ 499745 h 895243"/>
                  <a:gd name="connsiteX28" fmla="*/ 0 w 341313"/>
                  <a:gd name="connsiteY28" fmla="*/ 468312 h 895243"/>
                  <a:gd name="connsiteX29" fmla="*/ 182081 w 341313"/>
                  <a:gd name="connsiteY29" fmla="*/ 0 h 895243"/>
                  <a:gd name="connsiteX30" fmla="*/ 341313 w 341313"/>
                  <a:gd name="connsiteY30" fmla="*/ 158103 h 895243"/>
                  <a:gd name="connsiteX31" fmla="*/ 264911 w 341313"/>
                  <a:gd name="connsiteY31" fmla="*/ 266353 h 895243"/>
                  <a:gd name="connsiteX32" fmla="*/ 257056 w 341313"/>
                  <a:gd name="connsiteY32" fmla="*/ 284158 h 895243"/>
                  <a:gd name="connsiteX33" fmla="*/ 250630 w 341313"/>
                  <a:gd name="connsiteY33" fmla="*/ 301250 h 895243"/>
                  <a:gd name="connsiteX34" fmla="*/ 244203 w 341313"/>
                  <a:gd name="connsiteY34" fmla="*/ 319767 h 895243"/>
                  <a:gd name="connsiteX35" fmla="*/ 241347 w 341313"/>
                  <a:gd name="connsiteY35" fmla="*/ 329025 h 895243"/>
                  <a:gd name="connsiteX36" fmla="*/ 236349 w 341313"/>
                  <a:gd name="connsiteY36" fmla="*/ 347541 h 895243"/>
                  <a:gd name="connsiteX37" fmla="*/ 229922 w 341313"/>
                  <a:gd name="connsiteY37" fmla="*/ 376028 h 895243"/>
                  <a:gd name="connsiteX38" fmla="*/ 228494 w 341313"/>
                  <a:gd name="connsiteY38" fmla="*/ 385287 h 895243"/>
                  <a:gd name="connsiteX39" fmla="*/ 224924 w 341313"/>
                  <a:gd name="connsiteY39" fmla="*/ 415910 h 895243"/>
                  <a:gd name="connsiteX40" fmla="*/ 224210 w 341313"/>
                  <a:gd name="connsiteY40" fmla="*/ 436563 h 895243"/>
                  <a:gd name="connsiteX41" fmla="*/ 0 w 341313"/>
                  <a:gd name="connsiteY41" fmla="*/ 436563 h 895243"/>
                  <a:gd name="connsiteX42" fmla="*/ 8569 w 341313"/>
                  <a:gd name="connsiteY42" fmla="*/ 341844 h 895243"/>
                  <a:gd name="connsiteX43" fmla="*/ 14995 w 341313"/>
                  <a:gd name="connsiteY43" fmla="*/ 311933 h 895243"/>
                  <a:gd name="connsiteX44" fmla="*/ 18565 w 341313"/>
                  <a:gd name="connsiteY44" fmla="*/ 297689 h 895243"/>
                  <a:gd name="connsiteX45" fmla="*/ 26420 w 341313"/>
                  <a:gd name="connsiteY45" fmla="*/ 268490 h 895243"/>
                  <a:gd name="connsiteX46" fmla="*/ 63550 w 341313"/>
                  <a:gd name="connsiteY46" fmla="*/ 170210 h 895243"/>
                  <a:gd name="connsiteX47" fmla="*/ 77117 w 341313"/>
                  <a:gd name="connsiteY47" fmla="*/ 143859 h 895243"/>
                  <a:gd name="connsiteX48" fmla="*/ 182081 w 341313"/>
                  <a:gd name="connsiteY48" fmla="*/ 0 h 89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41313" h="895243">
                    <a:moveTo>
                      <a:pt x="0" y="468312"/>
                    </a:moveTo>
                    <a:cubicBezTo>
                      <a:pt x="0" y="468312"/>
                      <a:pt x="0" y="468312"/>
                      <a:pt x="223547" y="468312"/>
                    </a:cubicBezTo>
                    <a:cubicBezTo>
                      <a:pt x="223547" y="474742"/>
                      <a:pt x="224261" y="481171"/>
                      <a:pt x="224261" y="488315"/>
                    </a:cubicBezTo>
                    <a:cubicBezTo>
                      <a:pt x="224975" y="497602"/>
                      <a:pt x="226404" y="507603"/>
                      <a:pt x="227832" y="517604"/>
                    </a:cubicBezTo>
                    <a:cubicBezTo>
                      <a:pt x="229261" y="526891"/>
                      <a:pt x="231403" y="536892"/>
                      <a:pt x="233546" y="546179"/>
                    </a:cubicBezTo>
                    <a:cubicBezTo>
                      <a:pt x="234974" y="553323"/>
                      <a:pt x="236403" y="559752"/>
                      <a:pt x="237831" y="565467"/>
                    </a:cubicBezTo>
                    <a:cubicBezTo>
                      <a:pt x="239260" y="571897"/>
                      <a:pt x="241402" y="578326"/>
                      <a:pt x="243545" y="584041"/>
                    </a:cubicBezTo>
                    <a:cubicBezTo>
                      <a:pt x="245687" y="590470"/>
                      <a:pt x="247116" y="596185"/>
                      <a:pt x="249973" y="602615"/>
                    </a:cubicBezTo>
                    <a:cubicBezTo>
                      <a:pt x="254258" y="614759"/>
                      <a:pt x="259257" y="625475"/>
                      <a:pt x="264257" y="636905"/>
                    </a:cubicBezTo>
                    <a:cubicBezTo>
                      <a:pt x="267114" y="641905"/>
                      <a:pt x="269970" y="647620"/>
                      <a:pt x="272827" y="653335"/>
                    </a:cubicBezTo>
                    <a:cubicBezTo>
                      <a:pt x="274256" y="656193"/>
                      <a:pt x="275684" y="658336"/>
                      <a:pt x="277112" y="661193"/>
                    </a:cubicBezTo>
                    <a:cubicBezTo>
                      <a:pt x="280684" y="666908"/>
                      <a:pt x="283540" y="672623"/>
                      <a:pt x="287111" y="678338"/>
                    </a:cubicBezTo>
                    <a:cubicBezTo>
                      <a:pt x="299967" y="698341"/>
                      <a:pt x="313537" y="716915"/>
                      <a:pt x="329250" y="734774"/>
                    </a:cubicBezTo>
                    <a:cubicBezTo>
                      <a:pt x="334963" y="740489"/>
                      <a:pt x="334963" y="750490"/>
                      <a:pt x="329250" y="756205"/>
                    </a:cubicBezTo>
                    <a:cubicBezTo>
                      <a:pt x="329250" y="756205"/>
                      <a:pt x="329250" y="756205"/>
                      <a:pt x="192836" y="890508"/>
                    </a:cubicBezTo>
                    <a:cubicBezTo>
                      <a:pt x="186408" y="896937"/>
                      <a:pt x="175695" y="896937"/>
                      <a:pt x="169981" y="889793"/>
                    </a:cubicBezTo>
                    <a:cubicBezTo>
                      <a:pt x="137842" y="854075"/>
                      <a:pt x="107845" y="814784"/>
                      <a:pt x="84277" y="772636"/>
                    </a:cubicBezTo>
                    <a:cubicBezTo>
                      <a:pt x="81420" y="768350"/>
                      <a:pt x="79277" y="764063"/>
                      <a:pt x="77135" y="759777"/>
                    </a:cubicBezTo>
                    <a:cubicBezTo>
                      <a:pt x="72135" y="751205"/>
                      <a:pt x="67850" y="741918"/>
                      <a:pt x="63565" y="733345"/>
                    </a:cubicBezTo>
                    <a:cubicBezTo>
                      <a:pt x="61422" y="728345"/>
                      <a:pt x="59279" y="724058"/>
                      <a:pt x="57137" y="719772"/>
                    </a:cubicBezTo>
                    <a:cubicBezTo>
                      <a:pt x="53566" y="710485"/>
                      <a:pt x="49281" y="701198"/>
                      <a:pt x="45709" y="691912"/>
                    </a:cubicBezTo>
                    <a:cubicBezTo>
                      <a:pt x="39996" y="678338"/>
                      <a:pt x="34996" y="663337"/>
                      <a:pt x="30711" y="649049"/>
                    </a:cubicBezTo>
                    <a:cubicBezTo>
                      <a:pt x="27854" y="639048"/>
                      <a:pt x="24997" y="630475"/>
                      <a:pt x="22141" y="620474"/>
                    </a:cubicBezTo>
                    <a:cubicBezTo>
                      <a:pt x="20712" y="616188"/>
                      <a:pt x="19284" y="611187"/>
                      <a:pt x="18570" y="606901"/>
                    </a:cubicBezTo>
                    <a:cubicBezTo>
                      <a:pt x="15713" y="596900"/>
                      <a:pt x="13570" y="586898"/>
                      <a:pt x="11428" y="576897"/>
                    </a:cubicBezTo>
                    <a:cubicBezTo>
                      <a:pt x="9285" y="566896"/>
                      <a:pt x="7857" y="556895"/>
                      <a:pt x="6428" y="545465"/>
                    </a:cubicBezTo>
                    <a:cubicBezTo>
                      <a:pt x="5000" y="535463"/>
                      <a:pt x="3571" y="525462"/>
                      <a:pt x="2857" y="514747"/>
                    </a:cubicBezTo>
                    <a:cubicBezTo>
                      <a:pt x="2143" y="509746"/>
                      <a:pt x="1429" y="504745"/>
                      <a:pt x="1429" y="499745"/>
                    </a:cubicBezTo>
                    <a:cubicBezTo>
                      <a:pt x="714" y="489029"/>
                      <a:pt x="0" y="478313"/>
                      <a:pt x="0" y="468312"/>
                    </a:cubicBezTo>
                    <a:close/>
                    <a:moveTo>
                      <a:pt x="182081" y="0"/>
                    </a:moveTo>
                    <a:cubicBezTo>
                      <a:pt x="182081" y="0"/>
                      <a:pt x="182081" y="0"/>
                      <a:pt x="341313" y="158103"/>
                    </a:cubicBezTo>
                    <a:cubicBezTo>
                      <a:pt x="310609" y="190151"/>
                      <a:pt x="284904" y="225759"/>
                      <a:pt x="264911" y="266353"/>
                    </a:cubicBezTo>
                    <a:cubicBezTo>
                      <a:pt x="262054" y="272051"/>
                      <a:pt x="259912" y="277748"/>
                      <a:pt x="257056" y="284158"/>
                    </a:cubicBezTo>
                    <a:cubicBezTo>
                      <a:pt x="254914" y="289855"/>
                      <a:pt x="252772" y="295553"/>
                      <a:pt x="250630" y="301250"/>
                    </a:cubicBezTo>
                    <a:cubicBezTo>
                      <a:pt x="247773" y="307660"/>
                      <a:pt x="246345" y="313357"/>
                      <a:pt x="244203" y="319767"/>
                    </a:cubicBezTo>
                    <a:cubicBezTo>
                      <a:pt x="242775" y="322615"/>
                      <a:pt x="242061" y="325464"/>
                      <a:pt x="241347" y="329025"/>
                    </a:cubicBezTo>
                    <a:cubicBezTo>
                      <a:pt x="239205" y="334722"/>
                      <a:pt x="237777" y="341132"/>
                      <a:pt x="236349" y="347541"/>
                    </a:cubicBezTo>
                    <a:cubicBezTo>
                      <a:pt x="234207" y="356800"/>
                      <a:pt x="232065" y="366058"/>
                      <a:pt x="229922" y="376028"/>
                    </a:cubicBezTo>
                    <a:cubicBezTo>
                      <a:pt x="229922" y="378877"/>
                      <a:pt x="229208" y="382438"/>
                      <a:pt x="228494" y="385287"/>
                    </a:cubicBezTo>
                    <a:cubicBezTo>
                      <a:pt x="227066" y="395969"/>
                      <a:pt x="225638" y="405940"/>
                      <a:pt x="224924" y="415910"/>
                    </a:cubicBezTo>
                    <a:cubicBezTo>
                      <a:pt x="224924" y="422320"/>
                      <a:pt x="224210" y="429441"/>
                      <a:pt x="224210" y="436563"/>
                    </a:cubicBezTo>
                    <a:cubicBezTo>
                      <a:pt x="224210" y="436563"/>
                      <a:pt x="224210" y="436563"/>
                      <a:pt x="0" y="436563"/>
                    </a:cubicBezTo>
                    <a:cubicBezTo>
                      <a:pt x="714" y="403803"/>
                      <a:pt x="3570" y="372467"/>
                      <a:pt x="8569" y="341844"/>
                    </a:cubicBezTo>
                    <a:cubicBezTo>
                      <a:pt x="9997" y="331873"/>
                      <a:pt x="12853" y="321903"/>
                      <a:pt x="14995" y="311933"/>
                    </a:cubicBezTo>
                    <a:cubicBezTo>
                      <a:pt x="16423" y="306947"/>
                      <a:pt x="17137" y="302674"/>
                      <a:pt x="18565" y="297689"/>
                    </a:cubicBezTo>
                    <a:cubicBezTo>
                      <a:pt x="20708" y="287719"/>
                      <a:pt x="23564" y="277748"/>
                      <a:pt x="26420" y="268490"/>
                    </a:cubicBezTo>
                    <a:cubicBezTo>
                      <a:pt x="35702" y="233593"/>
                      <a:pt x="48555" y="201546"/>
                      <a:pt x="63550" y="170210"/>
                    </a:cubicBezTo>
                    <a:cubicBezTo>
                      <a:pt x="67834" y="161664"/>
                      <a:pt x="72119" y="153118"/>
                      <a:pt x="77117" y="143859"/>
                    </a:cubicBezTo>
                    <a:cubicBezTo>
                      <a:pt x="104965" y="91158"/>
                      <a:pt x="140667" y="43443"/>
                      <a:pt x="182081" y="0"/>
                    </a:cubicBezTo>
                    <a:close/>
                  </a:path>
                </a:pathLst>
              </a:custGeom>
              <a:solidFill>
                <a:srgbClr val="071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62" name="Freeform 11">
                <a:extLst>
                  <a:ext uri="{FF2B5EF4-FFF2-40B4-BE49-F238E27FC236}">
                    <a16:creationId xmlns:a16="http://schemas.microsoft.com/office/drawing/2014/main" id="{2EB67724-DE55-4A41-B140-975C7B8156AA}"/>
                  </a:ext>
                </a:extLst>
              </p:cNvPr>
              <p:cNvSpPr>
                <a:spLocks/>
              </p:cNvSpPr>
              <p:nvPr/>
            </p:nvSpPr>
            <p:spPr bwMode="auto">
              <a:xfrm>
                <a:off x="5645150" y="2876549"/>
                <a:ext cx="1104901" cy="1096600"/>
              </a:xfrm>
              <a:custGeom>
                <a:avLst/>
                <a:gdLst>
                  <a:gd name="connsiteX0" fmla="*/ 555397 w 1104901"/>
                  <a:gd name="connsiteY0" fmla="*/ 717550 h 1096600"/>
                  <a:gd name="connsiteX1" fmla="*/ 515938 w 1104901"/>
                  <a:gd name="connsiteY1" fmla="*/ 777673 h 1096600"/>
                  <a:gd name="connsiteX2" fmla="*/ 525265 w 1104901"/>
                  <a:gd name="connsiteY2" fmla="*/ 824913 h 1096600"/>
                  <a:gd name="connsiteX3" fmla="*/ 550375 w 1104901"/>
                  <a:gd name="connsiteY3" fmla="*/ 841375 h 1096600"/>
                  <a:gd name="connsiteX4" fmla="*/ 590551 w 1104901"/>
                  <a:gd name="connsiteY4" fmla="*/ 778389 h 1096600"/>
                  <a:gd name="connsiteX5" fmla="*/ 555397 w 1104901"/>
                  <a:gd name="connsiteY5" fmla="*/ 717550 h 1096600"/>
                  <a:gd name="connsiteX6" fmla="*/ 882174 w 1104901"/>
                  <a:gd name="connsiteY6" fmla="*/ 669925 h 1096600"/>
                  <a:gd name="connsiteX7" fmla="*/ 1104900 w 1104901"/>
                  <a:gd name="connsiteY7" fmla="*/ 669925 h 1096600"/>
                  <a:gd name="connsiteX8" fmla="*/ 1086340 w 1104901"/>
                  <a:gd name="connsiteY8" fmla="*/ 807800 h 1096600"/>
                  <a:gd name="connsiteX9" fmla="*/ 1078487 w 1104901"/>
                  <a:gd name="connsiteY9" fmla="*/ 837089 h 1096600"/>
                  <a:gd name="connsiteX10" fmla="*/ 1069207 w 1104901"/>
                  <a:gd name="connsiteY10" fmla="*/ 865664 h 1096600"/>
                  <a:gd name="connsiteX11" fmla="*/ 1047077 w 1104901"/>
                  <a:gd name="connsiteY11" fmla="*/ 921385 h 1096600"/>
                  <a:gd name="connsiteX12" fmla="*/ 1034941 w 1104901"/>
                  <a:gd name="connsiteY12" fmla="*/ 947817 h 1096600"/>
                  <a:gd name="connsiteX13" fmla="*/ 1020664 w 1104901"/>
                  <a:gd name="connsiteY13" fmla="*/ 974963 h 1096600"/>
                  <a:gd name="connsiteX14" fmla="*/ 1005673 w 1104901"/>
                  <a:gd name="connsiteY14" fmla="*/ 999966 h 1096600"/>
                  <a:gd name="connsiteX15" fmla="*/ 980688 w 1104901"/>
                  <a:gd name="connsiteY15" fmla="*/ 1035685 h 1096600"/>
                  <a:gd name="connsiteX16" fmla="*/ 935714 w 1104901"/>
                  <a:gd name="connsiteY16" fmla="*/ 1091406 h 1096600"/>
                  <a:gd name="connsiteX17" fmla="*/ 912871 w 1104901"/>
                  <a:gd name="connsiteY17" fmla="*/ 1092121 h 1096600"/>
                  <a:gd name="connsiteX18" fmla="*/ 777950 w 1104901"/>
                  <a:gd name="connsiteY18" fmla="*/ 957818 h 1096600"/>
                  <a:gd name="connsiteX19" fmla="*/ 777236 w 1104901"/>
                  <a:gd name="connsiteY19" fmla="*/ 936387 h 1096600"/>
                  <a:gd name="connsiteX20" fmla="*/ 823637 w 1104901"/>
                  <a:gd name="connsiteY20" fmla="*/ 872093 h 1096600"/>
                  <a:gd name="connsiteX21" fmla="*/ 832918 w 1104901"/>
                  <a:gd name="connsiteY21" fmla="*/ 855663 h 1096600"/>
                  <a:gd name="connsiteX22" fmla="*/ 840770 w 1104901"/>
                  <a:gd name="connsiteY22" fmla="*/ 838518 h 1096600"/>
                  <a:gd name="connsiteX23" fmla="*/ 852192 w 1104901"/>
                  <a:gd name="connsiteY23" fmla="*/ 812086 h 1096600"/>
                  <a:gd name="connsiteX24" fmla="*/ 880033 w 1104901"/>
                  <a:gd name="connsiteY24" fmla="*/ 699215 h 1096600"/>
                  <a:gd name="connsiteX25" fmla="*/ 882174 w 1104901"/>
                  <a:gd name="connsiteY25" fmla="*/ 669925 h 1096600"/>
                  <a:gd name="connsiteX26" fmla="*/ 555311 w 1104901"/>
                  <a:gd name="connsiteY26" fmla="*/ 669925 h 1096600"/>
                  <a:gd name="connsiteX27" fmla="*/ 621804 w 1104901"/>
                  <a:gd name="connsiteY27" fmla="*/ 699161 h 1096600"/>
                  <a:gd name="connsiteX28" fmla="*/ 646113 w 1104901"/>
                  <a:gd name="connsiteY28" fmla="*/ 779739 h 1096600"/>
                  <a:gd name="connsiteX29" fmla="*/ 620374 w 1104901"/>
                  <a:gd name="connsiteY29" fmla="*/ 858177 h 1096600"/>
                  <a:gd name="connsiteX30" fmla="*/ 552451 w 1104901"/>
                  <a:gd name="connsiteY30" fmla="*/ 887413 h 1096600"/>
                  <a:gd name="connsiteX31" fmla="*/ 458788 w 1104901"/>
                  <a:gd name="connsiteY31" fmla="*/ 774747 h 1096600"/>
                  <a:gd name="connsiteX32" fmla="*/ 485958 w 1104901"/>
                  <a:gd name="connsiteY32" fmla="*/ 699161 h 1096600"/>
                  <a:gd name="connsiteX33" fmla="*/ 555311 w 1104901"/>
                  <a:gd name="connsiteY33" fmla="*/ 669925 h 1096600"/>
                  <a:gd name="connsiteX34" fmla="*/ 343883 w 1104901"/>
                  <a:gd name="connsiteY34" fmla="*/ 476250 h 1096600"/>
                  <a:gd name="connsiteX35" fmla="*/ 304800 w 1104901"/>
                  <a:gd name="connsiteY35" fmla="*/ 537089 h 1096600"/>
                  <a:gd name="connsiteX36" fmla="*/ 314749 w 1104901"/>
                  <a:gd name="connsiteY36" fmla="*/ 583613 h 1096600"/>
                  <a:gd name="connsiteX37" fmla="*/ 338909 w 1104901"/>
                  <a:gd name="connsiteY37" fmla="*/ 600075 h 1096600"/>
                  <a:gd name="connsiteX38" fmla="*/ 379413 w 1104901"/>
                  <a:gd name="connsiteY38" fmla="*/ 537089 h 1096600"/>
                  <a:gd name="connsiteX39" fmla="*/ 343883 w 1104901"/>
                  <a:gd name="connsiteY39" fmla="*/ 476250 h 1096600"/>
                  <a:gd name="connsiteX40" fmla="*/ 562165 w 1104901"/>
                  <a:gd name="connsiteY40" fmla="*/ 430213 h 1096600"/>
                  <a:gd name="connsiteX41" fmla="*/ 604222 w 1104901"/>
                  <a:gd name="connsiteY41" fmla="*/ 430213 h 1096600"/>
                  <a:gd name="connsiteX42" fmla="*/ 609924 w 1104901"/>
                  <a:gd name="connsiteY42" fmla="*/ 440895 h 1096600"/>
                  <a:gd name="connsiteX43" fmla="*/ 341902 w 1104901"/>
                  <a:gd name="connsiteY43" fmla="*/ 883852 h 1096600"/>
                  <a:gd name="connsiteX44" fmla="*/ 336199 w 1104901"/>
                  <a:gd name="connsiteY44" fmla="*/ 887413 h 1096600"/>
                  <a:gd name="connsiteX45" fmla="*/ 293429 w 1104901"/>
                  <a:gd name="connsiteY45" fmla="*/ 887413 h 1096600"/>
                  <a:gd name="connsiteX46" fmla="*/ 287014 w 1104901"/>
                  <a:gd name="connsiteY46" fmla="*/ 876731 h 1096600"/>
                  <a:gd name="connsiteX47" fmla="*/ 556462 w 1104901"/>
                  <a:gd name="connsiteY47" fmla="*/ 433061 h 1096600"/>
                  <a:gd name="connsiteX48" fmla="*/ 562165 w 1104901"/>
                  <a:gd name="connsiteY48" fmla="*/ 430213 h 1096600"/>
                  <a:gd name="connsiteX49" fmla="*/ 344602 w 1104901"/>
                  <a:gd name="connsiteY49" fmla="*/ 430213 h 1096600"/>
                  <a:gd name="connsiteX50" fmla="*/ 411612 w 1104901"/>
                  <a:gd name="connsiteY50" fmla="*/ 459449 h 1096600"/>
                  <a:gd name="connsiteX51" fmla="*/ 436563 w 1104901"/>
                  <a:gd name="connsiteY51" fmla="*/ 540027 h 1096600"/>
                  <a:gd name="connsiteX52" fmla="*/ 410187 w 1104901"/>
                  <a:gd name="connsiteY52" fmla="*/ 618465 h 1096600"/>
                  <a:gd name="connsiteX53" fmla="*/ 341750 w 1104901"/>
                  <a:gd name="connsiteY53" fmla="*/ 647701 h 1096600"/>
                  <a:gd name="connsiteX54" fmla="*/ 247650 w 1104901"/>
                  <a:gd name="connsiteY54" fmla="*/ 534322 h 1096600"/>
                  <a:gd name="connsiteX55" fmla="*/ 274740 w 1104901"/>
                  <a:gd name="connsiteY55" fmla="*/ 459449 h 1096600"/>
                  <a:gd name="connsiteX56" fmla="*/ 344602 w 1104901"/>
                  <a:gd name="connsiteY56" fmla="*/ 430213 h 1096600"/>
                  <a:gd name="connsiteX57" fmla="*/ 924752 w 1104901"/>
                  <a:gd name="connsiteY57" fmla="*/ 203200 h 1096600"/>
                  <a:gd name="connsiteX58" fmla="*/ 953347 w 1104901"/>
                  <a:gd name="connsiteY58" fmla="*/ 235948 h 1096600"/>
                  <a:gd name="connsiteX59" fmla="*/ 971934 w 1104901"/>
                  <a:gd name="connsiteY59" fmla="*/ 259441 h 1096600"/>
                  <a:gd name="connsiteX60" fmla="*/ 997669 w 1104901"/>
                  <a:gd name="connsiteY60" fmla="*/ 295748 h 1096600"/>
                  <a:gd name="connsiteX61" fmla="*/ 1027694 w 1104901"/>
                  <a:gd name="connsiteY61" fmla="*/ 346293 h 1096600"/>
                  <a:gd name="connsiteX62" fmla="*/ 1078451 w 1104901"/>
                  <a:gd name="connsiteY62" fmla="*/ 470877 h 1096600"/>
                  <a:gd name="connsiteX63" fmla="*/ 1098467 w 1104901"/>
                  <a:gd name="connsiteY63" fmla="*/ 559865 h 1096600"/>
                  <a:gd name="connsiteX64" fmla="*/ 1104901 w 1104901"/>
                  <a:gd name="connsiteY64" fmla="*/ 638175 h 1096600"/>
                  <a:gd name="connsiteX65" fmla="*/ 881859 w 1104901"/>
                  <a:gd name="connsiteY65" fmla="*/ 638175 h 1096600"/>
                  <a:gd name="connsiteX66" fmla="*/ 880429 w 1104901"/>
                  <a:gd name="connsiteY66" fmla="*/ 618241 h 1096600"/>
                  <a:gd name="connsiteX67" fmla="*/ 875425 w 1104901"/>
                  <a:gd name="connsiteY67" fmla="*/ 578375 h 1096600"/>
                  <a:gd name="connsiteX68" fmla="*/ 867561 w 1104901"/>
                  <a:gd name="connsiteY68" fmla="*/ 540644 h 1096600"/>
                  <a:gd name="connsiteX69" fmla="*/ 864702 w 1104901"/>
                  <a:gd name="connsiteY69" fmla="*/ 531389 h 1096600"/>
                  <a:gd name="connsiteX70" fmla="*/ 858983 w 1104901"/>
                  <a:gd name="connsiteY70" fmla="*/ 512879 h 1096600"/>
                  <a:gd name="connsiteX71" fmla="*/ 848260 w 1104901"/>
                  <a:gd name="connsiteY71" fmla="*/ 486539 h 1096600"/>
                  <a:gd name="connsiteX72" fmla="*/ 836821 w 1104901"/>
                  <a:gd name="connsiteY72" fmla="*/ 460198 h 1096600"/>
                  <a:gd name="connsiteX73" fmla="*/ 766763 w 1104901"/>
                  <a:gd name="connsiteY73" fmla="*/ 360531 h 1096600"/>
                  <a:gd name="connsiteX74" fmla="*/ 924752 w 1104901"/>
                  <a:gd name="connsiteY74" fmla="*/ 203200 h 1096600"/>
                  <a:gd name="connsiteX75" fmla="*/ 465138 w 1104901"/>
                  <a:gd name="connsiteY75" fmla="*/ 0 h 1096600"/>
                  <a:gd name="connsiteX76" fmla="*/ 663127 w 1104901"/>
                  <a:gd name="connsiteY76" fmla="*/ 35013 h 1096600"/>
                  <a:gd name="connsiteX77" fmla="*/ 691003 w 1104901"/>
                  <a:gd name="connsiteY77" fmla="*/ 45016 h 1096600"/>
                  <a:gd name="connsiteX78" fmla="*/ 745325 w 1104901"/>
                  <a:gd name="connsiteY78" fmla="*/ 68596 h 1096600"/>
                  <a:gd name="connsiteX79" fmla="*/ 771772 w 1104901"/>
                  <a:gd name="connsiteY79" fmla="*/ 82887 h 1096600"/>
                  <a:gd name="connsiteX80" fmla="*/ 822520 w 1104901"/>
                  <a:gd name="connsiteY80" fmla="*/ 115041 h 1096600"/>
                  <a:gd name="connsiteX81" fmla="*/ 846107 w 1104901"/>
                  <a:gd name="connsiteY81" fmla="*/ 131476 h 1096600"/>
                  <a:gd name="connsiteX82" fmla="*/ 858258 w 1104901"/>
                  <a:gd name="connsiteY82" fmla="*/ 140765 h 1096600"/>
                  <a:gd name="connsiteX83" fmla="*/ 881131 w 1104901"/>
                  <a:gd name="connsiteY83" fmla="*/ 159343 h 1096600"/>
                  <a:gd name="connsiteX84" fmla="*/ 903288 w 1104901"/>
                  <a:gd name="connsiteY84" fmla="*/ 179350 h 1096600"/>
                  <a:gd name="connsiteX85" fmla="*/ 744610 w 1104901"/>
                  <a:gd name="connsiteY85" fmla="*/ 336550 h 1096600"/>
                  <a:gd name="connsiteX86" fmla="*/ 669560 w 1104901"/>
                  <a:gd name="connsiteY86" fmla="*/ 279386 h 1096600"/>
                  <a:gd name="connsiteX87" fmla="*/ 652406 w 1104901"/>
                  <a:gd name="connsiteY87" fmla="*/ 270812 h 1096600"/>
                  <a:gd name="connsiteX88" fmla="*/ 618097 w 1104901"/>
                  <a:gd name="connsiteY88" fmla="*/ 255092 h 1096600"/>
                  <a:gd name="connsiteX89" fmla="*/ 590936 w 1104901"/>
                  <a:gd name="connsiteY89" fmla="*/ 244374 h 1096600"/>
                  <a:gd name="connsiteX90" fmla="*/ 581644 w 1104901"/>
                  <a:gd name="connsiteY90" fmla="*/ 241516 h 1096600"/>
                  <a:gd name="connsiteX91" fmla="*/ 563060 w 1104901"/>
                  <a:gd name="connsiteY91" fmla="*/ 235799 h 1096600"/>
                  <a:gd name="connsiteX92" fmla="*/ 535185 w 1104901"/>
                  <a:gd name="connsiteY92" fmla="*/ 229368 h 1096600"/>
                  <a:gd name="connsiteX93" fmla="*/ 505165 w 1104901"/>
                  <a:gd name="connsiteY93" fmla="*/ 224367 h 1096600"/>
                  <a:gd name="connsiteX94" fmla="*/ 465138 w 1104901"/>
                  <a:gd name="connsiteY94" fmla="*/ 221508 h 1096600"/>
                  <a:gd name="connsiteX95" fmla="*/ 465138 w 1104901"/>
                  <a:gd name="connsiteY95" fmla="*/ 0 h 1096600"/>
                  <a:gd name="connsiteX96" fmla="*/ 434975 w 1104901"/>
                  <a:gd name="connsiteY96" fmla="*/ 0 h 1096600"/>
                  <a:gd name="connsiteX97" fmla="*/ 434975 w 1104901"/>
                  <a:gd name="connsiteY97" fmla="*/ 221508 h 1096600"/>
                  <a:gd name="connsiteX98" fmla="*/ 156876 w 1104901"/>
                  <a:gd name="connsiteY98" fmla="*/ 336550 h 1096600"/>
                  <a:gd name="connsiteX99" fmla="*/ 0 w 1104901"/>
                  <a:gd name="connsiteY99" fmla="*/ 179350 h 1096600"/>
                  <a:gd name="connsiteX100" fmla="*/ 32801 w 1104901"/>
                  <a:gd name="connsiteY100" fmla="*/ 150054 h 1096600"/>
                  <a:gd name="connsiteX101" fmla="*/ 79864 w 1104901"/>
                  <a:gd name="connsiteY101" fmla="*/ 115041 h 1096600"/>
                  <a:gd name="connsiteX102" fmla="*/ 104109 w 1104901"/>
                  <a:gd name="connsiteY102" fmla="*/ 98607 h 1096600"/>
                  <a:gd name="connsiteX103" fmla="*/ 168998 w 1104901"/>
                  <a:gd name="connsiteY103" fmla="*/ 62165 h 1096600"/>
                  <a:gd name="connsiteX104" fmla="*/ 253141 w 1104901"/>
                  <a:gd name="connsiteY104" fmla="*/ 30011 h 1096600"/>
                  <a:gd name="connsiteX105" fmla="*/ 267402 w 1104901"/>
                  <a:gd name="connsiteY105" fmla="*/ 25723 h 1096600"/>
                  <a:gd name="connsiteX106" fmla="*/ 296638 w 1104901"/>
                  <a:gd name="connsiteY106" fmla="*/ 17863 h 1096600"/>
                  <a:gd name="connsiteX107" fmla="*/ 326588 w 1104901"/>
                  <a:gd name="connsiteY107" fmla="*/ 11433 h 1096600"/>
                  <a:gd name="connsiteX108" fmla="*/ 402886 w 1104901"/>
                  <a:gd name="connsiteY108" fmla="*/ 1429 h 1096600"/>
                  <a:gd name="connsiteX109" fmla="*/ 434975 w 1104901"/>
                  <a:gd name="connsiteY109" fmla="*/ 0 h 109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04901" h="1096600">
                    <a:moveTo>
                      <a:pt x="555397" y="717550"/>
                    </a:moveTo>
                    <a:cubicBezTo>
                      <a:pt x="528852" y="717550"/>
                      <a:pt x="515938" y="737591"/>
                      <a:pt x="515938" y="777673"/>
                    </a:cubicBezTo>
                    <a:cubicBezTo>
                      <a:pt x="515938" y="798430"/>
                      <a:pt x="519525" y="814177"/>
                      <a:pt x="525265" y="824913"/>
                    </a:cubicBezTo>
                    <a:cubicBezTo>
                      <a:pt x="531722" y="835649"/>
                      <a:pt x="540331" y="841375"/>
                      <a:pt x="550375" y="841375"/>
                    </a:cubicBezTo>
                    <a:cubicBezTo>
                      <a:pt x="577637" y="841375"/>
                      <a:pt x="590551" y="820618"/>
                      <a:pt x="590551" y="778389"/>
                    </a:cubicBezTo>
                    <a:cubicBezTo>
                      <a:pt x="590551" y="737591"/>
                      <a:pt x="579072" y="717550"/>
                      <a:pt x="555397" y="717550"/>
                    </a:cubicBezTo>
                    <a:close/>
                    <a:moveTo>
                      <a:pt x="882174" y="669925"/>
                    </a:moveTo>
                    <a:cubicBezTo>
                      <a:pt x="882174" y="669925"/>
                      <a:pt x="882174" y="669925"/>
                      <a:pt x="1104900" y="669925"/>
                    </a:cubicBezTo>
                    <a:cubicBezTo>
                      <a:pt x="1103473" y="717074"/>
                      <a:pt x="1097762" y="762794"/>
                      <a:pt x="1086340" y="807800"/>
                    </a:cubicBezTo>
                    <a:cubicBezTo>
                      <a:pt x="1084198" y="817086"/>
                      <a:pt x="1081343" y="827088"/>
                      <a:pt x="1078487" y="837089"/>
                    </a:cubicBezTo>
                    <a:cubicBezTo>
                      <a:pt x="1075632" y="846376"/>
                      <a:pt x="1072776" y="856377"/>
                      <a:pt x="1069207" y="865664"/>
                    </a:cubicBezTo>
                    <a:cubicBezTo>
                      <a:pt x="1062782" y="884238"/>
                      <a:pt x="1055644" y="902811"/>
                      <a:pt x="1047077" y="921385"/>
                    </a:cubicBezTo>
                    <a:cubicBezTo>
                      <a:pt x="1043508" y="929958"/>
                      <a:pt x="1039225" y="939245"/>
                      <a:pt x="1034941" y="947817"/>
                    </a:cubicBezTo>
                    <a:cubicBezTo>
                      <a:pt x="1029944" y="957104"/>
                      <a:pt x="1025661" y="965676"/>
                      <a:pt x="1020664" y="974963"/>
                    </a:cubicBezTo>
                    <a:cubicBezTo>
                      <a:pt x="1015667" y="983536"/>
                      <a:pt x="1010670" y="991394"/>
                      <a:pt x="1005673" y="999966"/>
                    </a:cubicBezTo>
                    <a:cubicBezTo>
                      <a:pt x="997820" y="1011396"/>
                      <a:pt x="989254" y="1023541"/>
                      <a:pt x="980688" y="1035685"/>
                    </a:cubicBezTo>
                    <a:cubicBezTo>
                      <a:pt x="966410" y="1055688"/>
                      <a:pt x="951419" y="1073547"/>
                      <a:pt x="935714" y="1091406"/>
                    </a:cubicBezTo>
                    <a:cubicBezTo>
                      <a:pt x="930003" y="1097836"/>
                      <a:pt x="919295" y="1098550"/>
                      <a:pt x="912871" y="1092121"/>
                    </a:cubicBezTo>
                    <a:cubicBezTo>
                      <a:pt x="912871" y="1092121"/>
                      <a:pt x="912871" y="1092121"/>
                      <a:pt x="777950" y="957818"/>
                    </a:cubicBezTo>
                    <a:cubicBezTo>
                      <a:pt x="771525" y="952103"/>
                      <a:pt x="771525" y="942816"/>
                      <a:pt x="777236" y="936387"/>
                    </a:cubicBezTo>
                    <a:cubicBezTo>
                      <a:pt x="794369" y="916385"/>
                      <a:pt x="810074" y="894953"/>
                      <a:pt x="823637" y="872093"/>
                    </a:cubicBezTo>
                    <a:cubicBezTo>
                      <a:pt x="826493" y="866378"/>
                      <a:pt x="829348" y="860663"/>
                      <a:pt x="832918" y="855663"/>
                    </a:cubicBezTo>
                    <a:cubicBezTo>
                      <a:pt x="835773" y="849948"/>
                      <a:pt x="838629" y="844233"/>
                      <a:pt x="840770" y="838518"/>
                    </a:cubicBezTo>
                    <a:cubicBezTo>
                      <a:pt x="845053" y="829945"/>
                      <a:pt x="848623" y="822087"/>
                      <a:pt x="852192" y="812086"/>
                    </a:cubicBezTo>
                    <a:cubicBezTo>
                      <a:pt x="866469" y="777081"/>
                      <a:pt x="875750" y="739220"/>
                      <a:pt x="880033" y="699215"/>
                    </a:cubicBezTo>
                    <a:cubicBezTo>
                      <a:pt x="881460" y="689928"/>
                      <a:pt x="882174" y="679926"/>
                      <a:pt x="882174" y="669925"/>
                    </a:cubicBezTo>
                    <a:close/>
                    <a:moveTo>
                      <a:pt x="555311" y="669925"/>
                    </a:moveTo>
                    <a:cubicBezTo>
                      <a:pt x="583195" y="669925"/>
                      <a:pt x="605359" y="679908"/>
                      <a:pt x="621804" y="699161"/>
                    </a:cubicBezTo>
                    <a:cubicBezTo>
                      <a:pt x="638248" y="718414"/>
                      <a:pt x="646113" y="745511"/>
                      <a:pt x="646113" y="779739"/>
                    </a:cubicBezTo>
                    <a:cubicBezTo>
                      <a:pt x="646113" y="812540"/>
                      <a:pt x="637533" y="838211"/>
                      <a:pt x="620374" y="858177"/>
                    </a:cubicBezTo>
                    <a:cubicBezTo>
                      <a:pt x="602499" y="877430"/>
                      <a:pt x="580335" y="887413"/>
                      <a:pt x="552451" y="887413"/>
                    </a:cubicBezTo>
                    <a:cubicBezTo>
                      <a:pt x="490247" y="887413"/>
                      <a:pt x="458788" y="849620"/>
                      <a:pt x="458788" y="774747"/>
                    </a:cubicBezTo>
                    <a:cubicBezTo>
                      <a:pt x="458788" y="744085"/>
                      <a:pt x="468083" y="718414"/>
                      <a:pt x="485958" y="699161"/>
                    </a:cubicBezTo>
                    <a:cubicBezTo>
                      <a:pt x="503832" y="679908"/>
                      <a:pt x="526711" y="669925"/>
                      <a:pt x="555311" y="669925"/>
                    </a:cubicBezTo>
                    <a:close/>
                    <a:moveTo>
                      <a:pt x="343883" y="476250"/>
                    </a:moveTo>
                    <a:cubicBezTo>
                      <a:pt x="318302" y="476250"/>
                      <a:pt x="304800" y="496291"/>
                      <a:pt x="304800" y="537089"/>
                    </a:cubicBezTo>
                    <a:cubicBezTo>
                      <a:pt x="304800" y="557130"/>
                      <a:pt x="308353" y="572877"/>
                      <a:pt x="314749" y="583613"/>
                    </a:cubicBezTo>
                    <a:cubicBezTo>
                      <a:pt x="321144" y="594349"/>
                      <a:pt x="329671" y="600075"/>
                      <a:pt x="338909" y="600075"/>
                    </a:cubicBezTo>
                    <a:cubicBezTo>
                      <a:pt x="365912" y="600075"/>
                      <a:pt x="379413" y="579318"/>
                      <a:pt x="379413" y="537089"/>
                    </a:cubicBezTo>
                    <a:cubicBezTo>
                      <a:pt x="379413" y="496291"/>
                      <a:pt x="367333" y="476250"/>
                      <a:pt x="343883" y="476250"/>
                    </a:cubicBezTo>
                    <a:close/>
                    <a:moveTo>
                      <a:pt x="562165" y="430213"/>
                    </a:moveTo>
                    <a:cubicBezTo>
                      <a:pt x="562165" y="430213"/>
                      <a:pt x="562165" y="430213"/>
                      <a:pt x="604222" y="430213"/>
                    </a:cubicBezTo>
                    <a:cubicBezTo>
                      <a:pt x="609924" y="430213"/>
                      <a:pt x="612776" y="435910"/>
                      <a:pt x="609924" y="440895"/>
                    </a:cubicBezTo>
                    <a:cubicBezTo>
                      <a:pt x="609924" y="440895"/>
                      <a:pt x="609924" y="440895"/>
                      <a:pt x="341902" y="883852"/>
                    </a:cubicBezTo>
                    <a:cubicBezTo>
                      <a:pt x="341189" y="885989"/>
                      <a:pt x="338338" y="887413"/>
                      <a:pt x="336199" y="887413"/>
                    </a:cubicBezTo>
                    <a:cubicBezTo>
                      <a:pt x="336199" y="887413"/>
                      <a:pt x="336199" y="887413"/>
                      <a:pt x="293429" y="887413"/>
                    </a:cubicBezTo>
                    <a:cubicBezTo>
                      <a:pt x="287727" y="887413"/>
                      <a:pt x="284163" y="881716"/>
                      <a:pt x="287014" y="876731"/>
                    </a:cubicBezTo>
                    <a:cubicBezTo>
                      <a:pt x="287014" y="876731"/>
                      <a:pt x="287014" y="876731"/>
                      <a:pt x="556462" y="433061"/>
                    </a:cubicBezTo>
                    <a:cubicBezTo>
                      <a:pt x="557888" y="431637"/>
                      <a:pt x="560027" y="430213"/>
                      <a:pt x="562165" y="430213"/>
                    </a:cubicBezTo>
                    <a:close/>
                    <a:moveTo>
                      <a:pt x="344602" y="430213"/>
                    </a:moveTo>
                    <a:cubicBezTo>
                      <a:pt x="372404" y="430213"/>
                      <a:pt x="394503" y="439483"/>
                      <a:pt x="411612" y="459449"/>
                    </a:cubicBezTo>
                    <a:cubicBezTo>
                      <a:pt x="428009" y="478702"/>
                      <a:pt x="436563" y="505799"/>
                      <a:pt x="436563" y="540027"/>
                    </a:cubicBezTo>
                    <a:cubicBezTo>
                      <a:pt x="436563" y="572828"/>
                      <a:pt x="427296" y="598499"/>
                      <a:pt x="410187" y="618465"/>
                    </a:cubicBezTo>
                    <a:cubicBezTo>
                      <a:pt x="392365" y="637718"/>
                      <a:pt x="369553" y="647701"/>
                      <a:pt x="341750" y="647701"/>
                    </a:cubicBezTo>
                    <a:cubicBezTo>
                      <a:pt x="279730" y="647701"/>
                      <a:pt x="247650" y="609908"/>
                      <a:pt x="247650" y="534322"/>
                    </a:cubicBezTo>
                    <a:cubicBezTo>
                      <a:pt x="247650" y="503660"/>
                      <a:pt x="256918" y="478702"/>
                      <a:pt x="274740" y="459449"/>
                    </a:cubicBezTo>
                    <a:cubicBezTo>
                      <a:pt x="293275" y="439483"/>
                      <a:pt x="316800" y="430213"/>
                      <a:pt x="344602" y="430213"/>
                    </a:cubicBezTo>
                    <a:close/>
                    <a:moveTo>
                      <a:pt x="924752" y="203200"/>
                    </a:moveTo>
                    <a:cubicBezTo>
                      <a:pt x="934045" y="213878"/>
                      <a:pt x="944053" y="224557"/>
                      <a:pt x="953347" y="235948"/>
                    </a:cubicBezTo>
                    <a:cubicBezTo>
                      <a:pt x="959781" y="243779"/>
                      <a:pt x="965500" y="252321"/>
                      <a:pt x="971934" y="259441"/>
                    </a:cubicBezTo>
                    <a:cubicBezTo>
                      <a:pt x="980512" y="271543"/>
                      <a:pt x="989091" y="283645"/>
                      <a:pt x="997669" y="295748"/>
                    </a:cubicBezTo>
                    <a:cubicBezTo>
                      <a:pt x="1008393" y="312122"/>
                      <a:pt x="1018401" y="329207"/>
                      <a:pt x="1027694" y="346293"/>
                    </a:cubicBezTo>
                    <a:cubicBezTo>
                      <a:pt x="1048426" y="385448"/>
                      <a:pt x="1065583" y="427450"/>
                      <a:pt x="1078451" y="470877"/>
                    </a:cubicBezTo>
                    <a:cubicBezTo>
                      <a:pt x="1087029" y="499353"/>
                      <a:pt x="1094178" y="529253"/>
                      <a:pt x="1098467" y="559865"/>
                    </a:cubicBezTo>
                    <a:cubicBezTo>
                      <a:pt x="1102042" y="584782"/>
                      <a:pt x="1104186" y="611122"/>
                      <a:pt x="1104901" y="638175"/>
                    </a:cubicBezTo>
                    <a:cubicBezTo>
                      <a:pt x="1104901" y="638175"/>
                      <a:pt x="1104901" y="638175"/>
                      <a:pt x="881859" y="638175"/>
                    </a:cubicBezTo>
                    <a:cubicBezTo>
                      <a:pt x="881859" y="631056"/>
                      <a:pt x="881144" y="624649"/>
                      <a:pt x="880429" y="618241"/>
                    </a:cubicBezTo>
                    <a:cubicBezTo>
                      <a:pt x="879714" y="604003"/>
                      <a:pt x="877570" y="591189"/>
                      <a:pt x="875425" y="578375"/>
                    </a:cubicBezTo>
                    <a:cubicBezTo>
                      <a:pt x="873280" y="565560"/>
                      <a:pt x="870421" y="552746"/>
                      <a:pt x="867561" y="540644"/>
                    </a:cubicBezTo>
                    <a:cubicBezTo>
                      <a:pt x="866131" y="537084"/>
                      <a:pt x="865417" y="534236"/>
                      <a:pt x="864702" y="531389"/>
                    </a:cubicBezTo>
                    <a:cubicBezTo>
                      <a:pt x="862557" y="524982"/>
                      <a:pt x="861127" y="519286"/>
                      <a:pt x="858983" y="512879"/>
                    </a:cubicBezTo>
                    <a:cubicBezTo>
                      <a:pt x="855408" y="503624"/>
                      <a:pt x="851834" y="495082"/>
                      <a:pt x="848260" y="486539"/>
                    </a:cubicBezTo>
                    <a:cubicBezTo>
                      <a:pt x="844685" y="477284"/>
                      <a:pt x="841111" y="468741"/>
                      <a:pt x="836821" y="460198"/>
                    </a:cubicBezTo>
                    <a:cubicBezTo>
                      <a:pt x="818235" y="423891"/>
                      <a:pt x="794644" y="390431"/>
                      <a:pt x="766763" y="360531"/>
                    </a:cubicBezTo>
                    <a:cubicBezTo>
                      <a:pt x="766763" y="360531"/>
                      <a:pt x="766763" y="360531"/>
                      <a:pt x="924752" y="203200"/>
                    </a:cubicBezTo>
                    <a:close/>
                    <a:moveTo>
                      <a:pt x="465138" y="0"/>
                    </a:moveTo>
                    <a:cubicBezTo>
                      <a:pt x="534470" y="1429"/>
                      <a:pt x="600228" y="13576"/>
                      <a:pt x="663127" y="35013"/>
                    </a:cubicBezTo>
                    <a:cubicBezTo>
                      <a:pt x="672419" y="37871"/>
                      <a:pt x="681711" y="41443"/>
                      <a:pt x="691003" y="45016"/>
                    </a:cubicBezTo>
                    <a:cubicBezTo>
                      <a:pt x="709587" y="51447"/>
                      <a:pt x="727456" y="60022"/>
                      <a:pt x="745325" y="68596"/>
                    </a:cubicBezTo>
                    <a:cubicBezTo>
                      <a:pt x="754617" y="73598"/>
                      <a:pt x="763194" y="77885"/>
                      <a:pt x="771772" y="82887"/>
                    </a:cubicBezTo>
                    <a:cubicBezTo>
                      <a:pt x="789641" y="92891"/>
                      <a:pt x="806080" y="103609"/>
                      <a:pt x="822520" y="115041"/>
                    </a:cubicBezTo>
                    <a:cubicBezTo>
                      <a:pt x="830382" y="120758"/>
                      <a:pt x="838245" y="125760"/>
                      <a:pt x="846107" y="131476"/>
                    </a:cubicBezTo>
                    <a:cubicBezTo>
                      <a:pt x="850396" y="134334"/>
                      <a:pt x="853970" y="137192"/>
                      <a:pt x="858258" y="140765"/>
                    </a:cubicBezTo>
                    <a:cubicBezTo>
                      <a:pt x="866121" y="146481"/>
                      <a:pt x="873983" y="152912"/>
                      <a:pt x="881131" y="159343"/>
                    </a:cubicBezTo>
                    <a:cubicBezTo>
                      <a:pt x="888993" y="165774"/>
                      <a:pt x="896141" y="172205"/>
                      <a:pt x="903288" y="179350"/>
                    </a:cubicBezTo>
                    <a:cubicBezTo>
                      <a:pt x="903288" y="179350"/>
                      <a:pt x="903288" y="179350"/>
                      <a:pt x="744610" y="336550"/>
                    </a:cubicBezTo>
                    <a:cubicBezTo>
                      <a:pt x="721738" y="315114"/>
                      <a:pt x="696721" y="296535"/>
                      <a:pt x="669560" y="279386"/>
                    </a:cubicBezTo>
                    <a:cubicBezTo>
                      <a:pt x="663842" y="276528"/>
                      <a:pt x="658124" y="273670"/>
                      <a:pt x="652406" y="270812"/>
                    </a:cubicBezTo>
                    <a:cubicBezTo>
                      <a:pt x="641684" y="265096"/>
                      <a:pt x="630248" y="260094"/>
                      <a:pt x="618097" y="255092"/>
                    </a:cubicBezTo>
                    <a:cubicBezTo>
                      <a:pt x="609520" y="250805"/>
                      <a:pt x="600228" y="247946"/>
                      <a:pt x="590936" y="244374"/>
                    </a:cubicBezTo>
                    <a:cubicBezTo>
                      <a:pt x="588077" y="243659"/>
                      <a:pt x="584503" y="242230"/>
                      <a:pt x="581644" y="241516"/>
                    </a:cubicBezTo>
                    <a:cubicBezTo>
                      <a:pt x="575926" y="239372"/>
                      <a:pt x="569493" y="237943"/>
                      <a:pt x="563060" y="235799"/>
                    </a:cubicBezTo>
                    <a:cubicBezTo>
                      <a:pt x="553768" y="233656"/>
                      <a:pt x="544476" y="231512"/>
                      <a:pt x="535185" y="229368"/>
                    </a:cubicBezTo>
                    <a:cubicBezTo>
                      <a:pt x="525178" y="227225"/>
                      <a:pt x="515171" y="225796"/>
                      <a:pt x="505165" y="224367"/>
                    </a:cubicBezTo>
                    <a:cubicBezTo>
                      <a:pt x="492299" y="222937"/>
                      <a:pt x="478718" y="222223"/>
                      <a:pt x="465138" y="221508"/>
                    </a:cubicBezTo>
                    <a:cubicBezTo>
                      <a:pt x="465138" y="221508"/>
                      <a:pt x="465138" y="221508"/>
                      <a:pt x="465138" y="0"/>
                    </a:cubicBezTo>
                    <a:close/>
                    <a:moveTo>
                      <a:pt x="434975" y="0"/>
                    </a:moveTo>
                    <a:cubicBezTo>
                      <a:pt x="434975" y="221508"/>
                      <a:pt x="434975" y="221508"/>
                      <a:pt x="434975" y="221508"/>
                    </a:cubicBezTo>
                    <a:cubicBezTo>
                      <a:pt x="327301" y="225081"/>
                      <a:pt x="230323" y="267954"/>
                      <a:pt x="156876" y="336550"/>
                    </a:cubicBezTo>
                    <a:cubicBezTo>
                      <a:pt x="156876" y="336550"/>
                      <a:pt x="156876" y="336550"/>
                      <a:pt x="0" y="179350"/>
                    </a:cubicBezTo>
                    <a:cubicBezTo>
                      <a:pt x="10696" y="169347"/>
                      <a:pt x="21392" y="159343"/>
                      <a:pt x="32801" y="150054"/>
                    </a:cubicBezTo>
                    <a:cubicBezTo>
                      <a:pt x="48489" y="137192"/>
                      <a:pt x="63463" y="125760"/>
                      <a:pt x="79864" y="115041"/>
                    </a:cubicBezTo>
                    <a:cubicBezTo>
                      <a:pt x="87708" y="109325"/>
                      <a:pt x="96265" y="103609"/>
                      <a:pt x="104109" y="98607"/>
                    </a:cubicBezTo>
                    <a:cubicBezTo>
                      <a:pt x="124788" y="85031"/>
                      <a:pt x="146893" y="72883"/>
                      <a:pt x="168998" y="62165"/>
                    </a:cubicBezTo>
                    <a:cubicBezTo>
                      <a:pt x="196095" y="50018"/>
                      <a:pt x="223905" y="39300"/>
                      <a:pt x="253141" y="30011"/>
                    </a:cubicBezTo>
                    <a:cubicBezTo>
                      <a:pt x="258132" y="28582"/>
                      <a:pt x="263124" y="27153"/>
                      <a:pt x="267402" y="25723"/>
                    </a:cubicBezTo>
                    <a:cubicBezTo>
                      <a:pt x="277385" y="22865"/>
                      <a:pt x="287368" y="20007"/>
                      <a:pt x="296638" y="17863"/>
                    </a:cubicBezTo>
                    <a:cubicBezTo>
                      <a:pt x="306621" y="15720"/>
                      <a:pt x="316605" y="13576"/>
                      <a:pt x="326588" y="11433"/>
                    </a:cubicBezTo>
                    <a:cubicBezTo>
                      <a:pt x="351545" y="6431"/>
                      <a:pt x="377929" y="3573"/>
                      <a:pt x="402886" y="1429"/>
                    </a:cubicBezTo>
                    <a:cubicBezTo>
                      <a:pt x="414296" y="714"/>
                      <a:pt x="424992" y="0"/>
                      <a:pt x="434975" y="0"/>
                    </a:cubicBezTo>
                    <a:close/>
                  </a:path>
                </a:pathLst>
              </a:custGeom>
              <a:solidFill>
                <a:srgbClr val="122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sp>
        <p:nvSpPr>
          <p:cNvPr id="64" name="Oval 20">
            <a:extLst>
              <a:ext uri="{FF2B5EF4-FFF2-40B4-BE49-F238E27FC236}">
                <a16:creationId xmlns:a16="http://schemas.microsoft.com/office/drawing/2014/main" id="{FBECA5DC-32CB-4041-AF28-82F136E99CEB}"/>
              </a:ext>
            </a:extLst>
          </p:cNvPr>
          <p:cNvSpPr>
            <a:spLocks noChangeAspect="1" noChangeArrowheads="1"/>
          </p:cNvSpPr>
          <p:nvPr/>
        </p:nvSpPr>
        <p:spPr bwMode="auto">
          <a:xfrm>
            <a:off x="5309781" y="2271532"/>
            <a:ext cx="306910" cy="306910"/>
          </a:xfrm>
          <a:prstGeom prst="ellipse">
            <a:avLst/>
          </a:prstGeom>
          <a:solidFill>
            <a:srgbClr val="12284C">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100000"/>
                  </a:srgbClr>
                </a:solidFill>
                <a:effectLst/>
                <a:uLnTx/>
                <a:uFillTx/>
                <a:latin typeface="Open Sans"/>
                <a:ea typeface="+mn-ea"/>
                <a:cs typeface="+mn-cs"/>
              </a:rPr>
              <a:t>3</a:t>
            </a:r>
          </a:p>
        </p:txBody>
      </p:sp>
      <p:cxnSp>
        <p:nvCxnSpPr>
          <p:cNvPr id="7" name="Straight Arrow Connector 6">
            <a:extLst>
              <a:ext uri="{FF2B5EF4-FFF2-40B4-BE49-F238E27FC236}">
                <a16:creationId xmlns:a16="http://schemas.microsoft.com/office/drawing/2014/main" id="{A4C86571-581B-42E9-8C2D-C96F1A913521}"/>
              </a:ext>
            </a:extLst>
          </p:cNvPr>
          <p:cNvCxnSpPr>
            <a:cxnSpLocks/>
            <a:stCxn id="6" idx="3"/>
            <a:endCxn id="19" idx="1"/>
          </p:cNvCxnSpPr>
          <p:nvPr/>
        </p:nvCxnSpPr>
        <p:spPr>
          <a:xfrm>
            <a:off x="1570850" y="4123397"/>
            <a:ext cx="351758" cy="2853"/>
          </a:xfrm>
          <a:prstGeom prst="straightConnector1">
            <a:avLst/>
          </a:prstGeom>
          <a:ln w="19050" cap="rnd" cmpd="sng" algn="ctr">
            <a:solidFill>
              <a:srgbClr val="12284C"/>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CBDA2798-3C7D-4A66-9CA3-6C72CEAB3A59}"/>
              </a:ext>
            </a:extLst>
          </p:cNvPr>
          <p:cNvCxnSpPr>
            <a:cxnSpLocks/>
            <a:stCxn id="19" idx="3"/>
            <a:endCxn id="50" idx="1"/>
          </p:cNvCxnSpPr>
          <p:nvPr/>
        </p:nvCxnSpPr>
        <p:spPr>
          <a:xfrm>
            <a:off x="4221185" y="4126250"/>
            <a:ext cx="165726" cy="0"/>
          </a:xfrm>
          <a:prstGeom prst="straightConnector1">
            <a:avLst/>
          </a:prstGeom>
          <a:ln w="19050" cap="rnd" cmpd="sng" algn="ctr">
            <a:solidFill>
              <a:srgbClr val="12284C"/>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B1A063E3-90BF-4E85-A24A-378468B5705A}"/>
              </a:ext>
            </a:extLst>
          </p:cNvPr>
          <p:cNvSpPr/>
          <p:nvPr/>
        </p:nvSpPr>
        <p:spPr>
          <a:xfrm>
            <a:off x="6852731" y="1473693"/>
            <a:ext cx="5007217" cy="4434997"/>
          </a:xfrm>
          <a:prstGeom prst="rect">
            <a:avLst/>
          </a:prstGeom>
          <a:solidFill>
            <a:srgbClr val="BFD4E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72" name="bcgIcons_AbstractionInHiddenLayers">
            <a:extLst>
              <a:ext uri="{FF2B5EF4-FFF2-40B4-BE49-F238E27FC236}">
                <a16:creationId xmlns:a16="http://schemas.microsoft.com/office/drawing/2014/main" id="{2B26B5E7-0926-4107-BFBE-2746C34F9AD8}"/>
              </a:ext>
            </a:extLst>
          </p:cNvPr>
          <p:cNvGrpSpPr>
            <a:grpSpLocks noChangeAspect="1"/>
          </p:cNvGrpSpPr>
          <p:nvPr/>
        </p:nvGrpSpPr>
        <p:grpSpPr bwMode="auto">
          <a:xfrm>
            <a:off x="7103641" y="3374651"/>
            <a:ext cx="787168" cy="787898"/>
            <a:chOff x="1682" y="0"/>
            <a:chExt cx="4316" cy="4320"/>
          </a:xfrm>
        </p:grpSpPr>
        <p:sp>
          <p:nvSpPr>
            <p:cNvPr id="73" name="AutoShape 30">
              <a:extLst>
                <a:ext uri="{FF2B5EF4-FFF2-40B4-BE49-F238E27FC236}">
                  <a16:creationId xmlns:a16="http://schemas.microsoft.com/office/drawing/2014/main" id="{BEF6A529-658F-4215-B7E0-CDB5F391B09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74" name="Freeform 32">
              <a:extLst>
                <a:ext uri="{FF2B5EF4-FFF2-40B4-BE49-F238E27FC236}">
                  <a16:creationId xmlns:a16="http://schemas.microsoft.com/office/drawing/2014/main" id="{AC80FBF1-7285-42F8-8A5F-129670B6D9FC}"/>
                </a:ext>
              </a:extLst>
            </p:cNvPr>
            <p:cNvSpPr>
              <a:spLocks noEditPoints="1"/>
            </p:cNvSpPr>
            <p:nvPr/>
          </p:nvSpPr>
          <p:spPr bwMode="auto">
            <a:xfrm>
              <a:off x="2111" y="1136"/>
              <a:ext cx="2145" cy="2044"/>
            </a:xfrm>
            <a:custGeom>
              <a:avLst/>
              <a:gdLst>
                <a:gd name="T0" fmla="*/ 559 w 1145"/>
                <a:gd name="T1" fmla="*/ 1052 h 1090"/>
                <a:gd name="T2" fmla="*/ 559 w 1145"/>
                <a:gd name="T3" fmla="*/ 1084 h 1090"/>
                <a:gd name="T4" fmla="*/ 544 w 1145"/>
                <a:gd name="T5" fmla="*/ 1090 h 1090"/>
                <a:gd name="T6" fmla="*/ 528 w 1145"/>
                <a:gd name="T7" fmla="*/ 1084 h 1090"/>
                <a:gd name="T8" fmla="*/ 6 w 1145"/>
                <a:gd name="T9" fmla="*/ 562 h 1090"/>
                <a:gd name="T10" fmla="*/ 0 w 1145"/>
                <a:gd name="T11" fmla="*/ 546 h 1090"/>
                <a:gd name="T12" fmla="*/ 6 w 1145"/>
                <a:gd name="T13" fmla="*/ 530 h 1090"/>
                <a:gd name="T14" fmla="*/ 528 w 1145"/>
                <a:gd name="T15" fmla="*/ 8 h 1090"/>
                <a:gd name="T16" fmla="*/ 559 w 1145"/>
                <a:gd name="T17" fmla="*/ 8 h 1090"/>
                <a:gd name="T18" fmla="*/ 639 w 1145"/>
                <a:gd name="T19" fmla="*/ 88 h 1090"/>
                <a:gd name="T20" fmla="*/ 608 w 1145"/>
                <a:gd name="T21" fmla="*/ 119 h 1090"/>
                <a:gd name="T22" fmla="*/ 544 w 1145"/>
                <a:gd name="T23" fmla="*/ 55 h 1090"/>
                <a:gd name="T24" fmla="*/ 53 w 1145"/>
                <a:gd name="T25" fmla="*/ 546 h 1090"/>
                <a:gd name="T26" fmla="*/ 559 w 1145"/>
                <a:gd name="T27" fmla="*/ 1052 h 1090"/>
                <a:gd name="T28" fmla="*/ 306 w 1145"/>
                <a:gd name="T29" fmla="*/ 546 h 1090"/>
                <a:gd name="T30" fmla="*/ 797 w 1145"/>
                <a:gd name="T31" fmla="*/ 55 h 1090"/>
                <a:gd name="T32" fmla="*/ 861 w 1145"/>
                <a:gd name="T33" fmla="*/ 119 h 1090"/>
                <a:gd name="T34" fmla="*/ 892 w 1145"/>
                <a:gd name="T35" fmla="*/ 88 h 1090"/>
                <a:gd name="T36" fmla="*/ 812 w 1145"/>
                <a:gd name="T37" fmla="*/ 8 h 1090"/>
                <a:gd name="T38" fmla="*/ 781 w 1145"/>
                <a:gd name="T39" fmla="*/ 8 h 1090"/>
                <a:gd name="T40" fmla="*/ 259 w 1145"/>
                <a:gd name="T41" fmla="*/ 530 h 1090"/>
                <a:gd name="T42" fmla="*/ 259 w 1145"/>
                <a:gd name="T43" fmla="*/ 562 h 1090"/>
                <a:gd name="T44" fmla="*/ 781 w 1145"/>
                <a:gd name="T45" fmla="*/ 1084 h 1090"/>
                <a:gd name="T46" fmla="*/ 797 w 1145"/>
                <a:gd name="T47" fmla="*/ 1090 h 1090"/>
                <a:gd name="T48" fmla="*/ 812 w 1145"/>
                <a:gd name="T49" fmla="*/ 1084 h 1090"/>
                <a:gd name="T50" fmla="*/ 812 w 1145"/>
                <a:gd name="T51" fmla="*/ 1052 h 1090"/>
                <a:gd name="T52" fmla="*/ 306 w 1145"/>
                <a:gd name="T53" fmla="*/ 546 h 1090"/>
                <a:gd name="T54" fmla="*/ 559 w 1145"/>
                <a:gd name="T55" fmla="*/ 546 h 1090"/>
                <a:gd name="T56" fmla="*/ 1049 w 1145"/>
                <a:gd name="T57" fmla="*/ 55 h 1090"/>
                <a:gd name="T58" fmla="*/ 1114 w 1145"/>
                <a:gd name="T59" fmla="*/ 119 h 1090"/>
                <a:gd name="T60" fmla="*/ 1145 w 1145"/>
                <a:gd name="T61" fmla="*/ 88 h 1090"/>
                <a:gd name="T62" fmla="*/ 1065 w 1145"/>
                <a:gd name="T63" fmla="*/ 8 h 1090"/>
                <a:gd name="T64" fmla="*/ 1034 w 1145"/>
                <a:gd name="T65" fmla="*/ 8 h 1090"/>
                <a:gd name="T66" fmla="*/ 512 w 1145"/>
                <a:gd name="T67" fmla="*/ 530 h 1090"/>
                <a:gd name="T68" fmla="*/ 505 w 1145"/>
                <a:gd name="T69" fmla="*/ 546 h 1090"/>
                <a:gd name="T70" fmla="*/ 512 w 1145"/>
                <a:gd name="T71" fmla="*/ 562 h 1090"/>
                <a:gd name="T72" fmla="*/ 1034 w 1145"/>
                <a:gd name="T73" fmla="*/ 1084 h 1090"/>
                <a:gd name="T74" fmla="*/ 1049 w 1145"/>
                <a:gd name="T75" fmla="*/ 1090 h 1090"/>
                <a:gd name="T76" fmla="*/ 1065 w 1145"/>
                <a:gd name="T77" fmla="*/ 1084 h 1090"/>
                <a:gd name="T78" fmla="*/ 1065 w 1145"/>
                <a:gd name="T79" fmla="*/ 1052 h 1090"/>
                <a:gd name="T80" fmla="*/ 559 w 1145"/>
                <a:gd name="T81" fmla="*/ 546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5" h="1090">
                  <a:moveTo>
                    <a:pt x="559" y="1052"/>
                  </a:moveTo>
                  <a:cubicBezTo>
                    <a:pt x="568" y="1061"/>
                    <a:pt x="568" y="1075"/>
                    <a:pt x="559" y="1084"/>
                  </a:cubicBezTo>
                  <a:cubicBezTo>
                    <a:pt x="555" y="1088"/>
                    <a:pt x="549" y="1090"/>
                    <a:pt x="544" y="1090"/>
                  </a:cubicBezTo>
                  <a:cubicBezTo>
                    <a:pt x="538" y="1090"/>
                    <a:pt x="532" y="1088"/>
                    <a:pt x="528" y="1084"/>
                  </a:cubicBezTo>
                  <a:cubicBezTo>
                    <a:pt x="6" y="562"/>
                    <a:pt x="6" y="562"/>
                    <a:pt x="6" y="562"/>
                  </a:cubicBezTo>
                  <a:cubicBezTo>
                    <a:pt x="2" y="557"/>
                    <a:pt x="0" y="552"/>
                    <a:pt x="0" y="546"/>
                  </a:cubicBezTo>
                  <a:cubicBezTo>
                    <a:pt x="0" y="540"/>
                    <a:pt x="2" y="535"/>
                    <a:pt x="6" y="530"/>
                  </a:cubicBezTo>
                  <a:cubicBezTo>
                    <a:pt x="528" y="8"/>
                    <a:pt x="528" y="8"/>
                    <a:pt x="528" y="8"/>
                  </a:cubicBezTo>
                  <a:cubicBezTo>
                    <a:pt x="537" y="0"/>
                    <a:pt x="551" y="0"/>
                    <a:pt x="559" y="8"/>
                  </a:cubicBezTo>
                  <a:cubicBezTo>
                    <a:pt x="639" y="88"/>
                    <a:pt x="639" y="88"/>
                    <a:pt x="639" y="88"/>
                  </a:cubicBezTo>
                  <a:cubicBezTo>
                    <a:pt x="608" y="119"/>
                    <a:pt x="608" y="119"/>
                    <a:pt x="608" y="119"/>
                  </a:cubicBezTo>
                  <a:cubicBezTo>
                    <a:pt x="544" y="55"/>
                    <a:pt x="544" y="55"/>
                    <a:pt x="544" y="55"/>
                  </a:cubicBezTo>
                  <a:cubicBezTo>
                    <a:pt x="53" y="546"/>
                    <a:pt x="53" y="546"/>
                    <a:pt x="53" y="546"/>
                  </a:cubicBezTo>
                  <a:lnTo>
                    <a:pt x="559" y="1052"/>
                  </a:lnTo>
                  <a:close/>
                  <a:moveTo>
                    <a:pt x="306" y="546"/>
                  </a:moveTo>
                  <a:cubicBezTo>
                    <a:pt x="797" y="55"/>
                    <a:pt x="797" y="55"/>
                    <a:pt x="797" y="55"/>
                  </a:cubicBezTo>
                  <a:cubicBezTo>
                    <a:pt x="861" y="119"/>
                    <a:pt x="861" y="119"/>
                    <a:pt x="861" y="119"/>
                  </a:cubicBezTo>
                  <a:cubicBezTo>
                    <a:pt x="892" y="88"/>
                    <a:pt x="892" y="88"/>
                    <a:pt x="892" y="88"/>
                  </a:cubicBezTo>
                  <a:cubicBezTo>
                    <a:pt x="812" y="8"/>
                    <a:pt x="812" y="8"/>
                    <a:pt x="812" y="8"/>
                  </a:cubicBezTo>
                  <a:cubicBezTo>
                    <a:pt x="804" y="0"/>
                    <a:pt x="790" y="0"/>
                    <a:pt x="781" y="8"/>
                  </a:cubicBezTo>
                  <a:cubicBezTo>
                    <a:pt x="259" y="530"/>
                    <a:pt x="259" y="530"/>
                    <a:pt x="259" y="530"/>
                  </a:cubicBezTo>
                  <a:cubicBezTo>
                    <a:pt x="250" y="539"/>
                    <a:pt x="250" y="553"/>
                    <a:pt x="259" y="562"/>
                  </a:cubicBezTo>
                  <a:cubicBezTo>
                    <a:pt x="781" y="1084"/>
                    <a:pt x="781" y="1084"/>
                    <a:pt x="781" y="1084"/>
                  </a:cubicBezTo>
                  <a:cubicBezTo>
                    <a:pt x="785" y="1088"/>
                    <a:pt x="791" y="1090"/>
                    <a:pt x="797" y="1090"/>
                  </a:cubicBezTo>
                  <a:cubicBezTo>
                    <a:pt x="802" y="1090"/>
                    <a:pt x="808" y="1088"/>
                    <a:pt x="812" y="1084"/>
                  </a:cubicBezTo>
                  <a:cubicBezTo>
                    <a:pt x="821" y="1075"/>
                    <a:pt x="821" y="1061"/>
                    <a:pt x="812" y="1052"/>
                  </a:cubicBezTo>
                  <a:lnTo>
                    <a:pt x="306" y="546"/>
                  </a:lnTo>
                  <a:close/>
                  <a:moveTo>
                    <a:pt x="559" y="546"/>
                  </a:moveTo>
                  <a:cubicBezTo>
                    <a:pt x="1049" y="55"/>
                    <a:pt x="1049" y="55"/>
                    <a:pt x="1049" y="55"/>
                  </a:cubicBezTo>
                  <a:cubicBezTo>
                    <a:pt x="1114" y="119"/>
                    <a:pt x="1114" y="119"/>
                    <a:pt x="1114" y="119"/>
                  </a:cubicBezTo>
                  <a:cubicBezTo>
                    <a:pt x="1145" y="88"/>
                    <a:pt x="1145" y="88"/>
                    <a:pt x="1145" y="88"/>
                  </a:cubicBezTo>
                  <a:cubicBezTo>
                    <a:pt x="1065" y="8"/>
                    <a:pt x="1065" y="8"/>
                    <a:pt x="1065" y="8"/>
                  </a:cubicBezTo>
                  <a:cubicBezTo>
                    <a:pt x="1056" y="0"/>
                    <a:pt x="1042" y="0"/>
                    <a:pt x="1034" y="8"/>
                  </a:cubicBezTo>
                  <a:cubicBezTo>
                    <a:pt x="512" y="530"/>
                    <a:pt x="512" y="530"/>
                    <a:pt x="512" y="530"/>
                  </a:cubicBezTo>
                  <a:cubicBezTo>
                    <a:pt x="508" y="535"/>
                    <a:pt x="505" y="540"/>
                    <a:pt x="505" y="546"/>
                  </a:cubicBezTo>
                  <a:cubicBezTo>
                    <a:pt x="505" y="552"/>
                    <a:pt x="508" y="557"/>
                    <a:pt x="512" y="562"/>
                  </a:cubicBezTo>
                  <a:cubicBezTo>
                    <a:pt x="1034" y="1084"/>
                    <a:pt x="1034" y="1084"/>
                    <a:pt x="1034" y="1084"/>
                  </a:cubicBezTo>
                  <a:cubicBezTo>
                    <a:pt x="1038" y="1088"/>
                    <a:pt x="1044" y="1090"/>
                    <a:pt x="1049" y="1090"/>
                  </a:cubicBezTo>
                  <a:cubicBezTo>
                    <a:pt x="1055" y="1090"/>
                    <a:pt x="1061" y="1088"/>
                    <a:pt x="1065" y="1084"/>
                  </a:cubicBezTo>
                  <a:cubicBezTo>
                    <a:pt x="1074" y="1075"/>
                    <a:pt x="1074" y="1061"/>
                    <a:pt x="1065" y="1052"/>
                  </a:cubicBezTo>
                  <a:lnTo>
                    <a:pt x="559" y="546"/>
                  </a:lnTo>
                  <a:close/>
                </a:path>
              </a:pathLst>
            </a:custGeom>
            <a:solidFill>
              <a:srgbClr val="071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75" name="Freeform 33">
              <a:extLst>
                <a:ext uri="{FF2B5EF4-FFF2-40B4-BE49-F238E27FC236}">
                  <a16:creationId xmlns:a16="http://schemas.microsoft.com/office/drawing/2014/main" id="{EC838234-51CE-4AC4-A599-BCBFEC32F34F}"/>
                </a:ext>
              </a:extLst>
            </p:cNvPr>
            <p:cNvSpPr>
              <a:spLocks/>
            </p:cNvSpPr>
            <p:nvPr/>
          </p:nvSpPr>
          <p:spPr bwMode="auto">
            <a:xfrm>
              <a:off x="3531" y="1136"/>
              <a:ext cx="2038" cy="2044"/>
            </a:xfrm>
            <a:custGeom>
              <a:avLst/>
              <a:gdLst>
                <a:gd name="T0" fmla="*/ 1082 w 1088"/>
                <a:gd name="T1" fmla="*/ 530 h 1090"/>
                <a:gd name="T2" fmla="*/ 560 w 1088"/>
                <a:gd name="T3" fmla="*/ 8 h 1090"/>
                <a:gd name="T4" fmla="*/ 529 w 1088"/>
                <a:gd name="T5" fmla="*/ 8 h 1090"/>
                <a:gd name="T6" fmla="*/ 7 w 1088"/>
                <a:gd name="T7" fmla="*/ 530 h 1090"/>
                <a:gd name="T8" fmla="*/ 0 w 1088"/>
                <a:gd name="T9" fmla="*/ 546 h 1090"/>
                <a:gd name="T10" fmla="*/ 7 w 1088"/>
                <a:gd name="T11" fmla="*/ 562 h 1090"/>
                <a:gd name="T12" fmla="*/ 529 w 1088"/>
                <a:gd name="T13" fmla="*/ 1084 h 1090"/>
                <a:gd name="T14" fmla="*/ 544 w 1088"/>
                <a:gd name="T15" fmla="*/ 1090 h 1090"/>
                <a:gd name="T16" fmla="*/ 560 w 1088"/>
                <a:gd name="T17" fmla="*/ 1084 h 1090"/>
                <a:gd name="T18" fmla="*/ 1082 w 1088"/>
                <a:gd name="T19" fmla="*/ 562 h 1090"/>
                <a:gd name="T20" fmla="*/ 1088 w 1088"/>
                <a:gd name="T21" fmla="*/ 546 h 1090"/>
                <a:gd name="T22" fmla="*/ 1082 w 1088"/>
                <a:gd name="T23" fmla="*/ 53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8" h="1090">
                  <a:moveTo>
                    <a:pt x="1082" y="530"/>
                  </a:moveTo>
                  <a:cubicBezTo>
                    <a:pt x="560" y="8"/>
                    <a:pt x="560" y="8"/>
                    <a:pt x="560" y="8"/>
                  </a:cubicBezTo>
                  <a:cubicBezTo>
                    <a:pt x="551" y="0"/>
                    <a:pt x="537" y="0"/>
                    <a:pt x="529" y="8"/>
                  </a:cubicBezTo>
                  <a:cubicBezTo>
                    <a:pt x="7" y="530"/>
                    <a:pt x="7" y="530"/>
                    <a:pt x="7" y="530"/>
                  </a:cubicBezTo>
                  <a:cubicBezTo>
                    <a:pt x="3" y="535"/>
                    <a:pt x="0" y="540"/>
                    <a:pt x="0" y="546"/>
                  </a:cubicBezTo>
                  <a:cubicBezTo>
                    <a:pt x="0" y="552"/>
                    <a:pt x="3" y="557"/>
                    <a:pt x="7" y="562"/>
                  </a:cubicBezTo>
                  <a:cubicBezTo>
                    <a:pt x="529" y="1084"/>
                    <a:pt x="529" y="1084"/>
                    <a:pt x="529" y="1084"/>
                  </a:cubicBezTo>
                  <a:cubicBezTo>
                    <a:pt x="533" y="1088"/>
                    <a:pt x="539" y="1090"/>
                    <a:pt x="544" y="1090"/>
                  </a:cubicBezTo>
                  <a:cubicBezTo>
                    <a:pt x="550" y="1090"/>
                    <a:pt x="556" y="1088"/>
                    <a:pt x="560" y="1084"/>
                  </a:cubicBezTo>
                  <a:cubicBezTo>
                    <a:pt x="1082" y="562"/>
                    <a:pt x="1082" y="562"/>
                    <a:pt x="1082" y="562"/>
                  </a:cubicBezTo>
                  <a:cubicBezTo>
                    <a:pt x="1086" y="557"/>
                    <a:pt x="1088" y="552"/>
                    <a:pt x="1088" y="546"/>
                  </a:cubicBezTo>
                  <a:cubicBezTo>
                    <a:pt x="1088" y="540"/>
                    <a:pt x="1086" y="535"/>
                    <a:pt x="1082" y="530"/>
                  </a:cubicBezTo>
                  <a:close/>
                </a:path>
              </a:pathLst>
            </a:custGeom>
            <a:solidFill>
              <a:srgbClr val="122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cxnSp>
        <p:nvCxnSpPr>
          <p:cNvPr id="79" name="Straight Arrow Connector 78">
            <a:extLst>
              <a:ext uri="{FF2B5EF4-FFF2-40B4-BE49-F238E27FC236}">
                <a16:creationId xmlns:a16="http://schemas.microsoft.com/office/drawing/2014/main" id="{2228B1B3-BCA5-45F9-97EA-61D8E372D765}"/>
              </a:ext>
            </a:extLst>
          </p:cNvPr>
          <p:cNvCxnSpPr>
            <a:cxnSpLocks/>
            <a:stCxn id="50" idx="3"/>
          </p:cNvCxnSpPr>
          <p:nvPr/>
        </p:nvCxnSpPr>
        <p:spPr>
          <a:xfrm>
            <a:off x="6539560" y="4126250"/>
            <a:ext cx="615843" cy="0"/>
          </a:xfrm>
          <a:prstGeom prst="straightConnector1">
            <a:avLst/>
          </a:prstGeom>
          <a:ln w="19050" cap="rnd" cmpd="sng" algn="ctr">
            <a:solidFill>
              <a:srgbClr val="12284C"/>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66ADC747-0FBD-4094-B4C8-479666921DCD}"/>
              </a:ext>
            </a:extLst>
          </p:cNvPr>
          <p:cNvSpPr txBox="1"/>
          <p:nvPr/>
        </p:nvSpPr>
        <p:spPr>
          <a:xfrm>
            <a:off x="7088095" y="1550457"/>
            <a:ext cx="4536489"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84C"/>
                </a:solidFill>
                <a:effectLst/>
                <a:uLnTx/>
                <a:uFillTx/>
                <a:latin typeface="Open Sans"/>
                <a:ea typeface="+mn-ea"/>
                <a:cs typeface="+mn-cs"/>
              </a:rPr>
              <a:t>Task Force determinations made for each ESSER application</a:t>
            </a:r>
          </a:p>
        </p:txBody>
      </p:sp>
      <p:sp>
        <p:nvSpPr>
          <p:cNvPr id="90" name="Rectangle: Rounded Corners 89">
            <a:extLst>
              <a:ext uri="{FF2B5EF4-FFF2-40B4-BE49-F238E27FC236}">
                <a16:creationId xmlns:a16="http://schemas.microsoft.com/office/drawing/2014/main" id="{A610114F-D959-49C6-A84D-DD7990CB7FC6}"/>
              </a:ext>
            </a:extLst>
          </p:cNvPr>
          <p:cNvSpPr/>
          <p:nvPr/>
        </p:nvSpPr>
        <p:spPr>
          <a:xfrm>
            <a:off x="9138975" y="2935700"/>
            <a:ext cx="2484095" cy="2701605"/>
          </a:xfrm>
          <a:prstGeom prst="roundRect">
            <a:avLst/>
          </a:prstGeom>
          <a:solidFill>
            <a:srgbClr val="8994A5"/>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Recommendation </a:t>
            </a:r>
            <a:r>
              <a:rPr kumimoji="0" lang="en-US" sz="1600" b="0" i="0" u="none" strike="noStrike" kern="1200" cap="none" spc="0" normalizeH="0" baseline="0" noProof="0" dirty="0">
                <a:ln>
                  <a:noFill/>
                </a:ln>
                <a:solidFill>
                  <a:srgbClr val="000000"/>
                </a:solidFill>
                <a:effectLst/>
                <a:uLnTx/>
                <a:uFillTx/>
                <a:latin typeface="Open Sans"/>
                <a:ea typeface="+mn-ea"/>
                <a:cs typeface="+mn-cs"/>
              </a:rPr>
              <a:t>to: </a:t>
            </a:r>
            <a:br>
              <a:rPr kumimoji="0" lang="en-US" sz="1600" b="0" i="0" u="none" strike="noStrike" kern="1200" cap="none" spc="0" normalizeH="0" baseline="0" noProof="0" dirty="0">
                <a:ln>
                  <a:noFill/>
                </a:ln>
                <a:solidFill>
                  <a:srgbClr val="000000"/>
                </a:solidFill>
                <a:effectLst/>
                <a:uLnTx/>
                <a:uFillTx/>
                <a:latin typeface="Open Sans"/>
                <a:ea typeface="+mn-ea"/>
                <a:cs typeface="+mn-cs"/>
              </a:rPr>
            </a:br>
            <a:r>
              <a:rPr kumimoji="0" lang="en-US" sz="1600" b="0" i="0" u="none" strike="noStrike" kern="1200" cap="none" spc="0" normalizeH="0" baseline="0" noProof="0" dirty="0">
                <a:ln>
                  <a:noFill/>
                </a:ln>
                <a:solidFill>
                  <a:srgbClr val="000000"/>
                </a:solidFill>
                <a:effectLst/>
                <a:uLnTx/>
                <a:uFillTx/>
                <a:latin typeface="Open Sans"/>
                <a:ea typeface="+mn-ea"/>
                <a:cs typeface="+mn-cs"/>
              </a:rPr>
              <a:t>a) approve plan (excluding rejected requests where applic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b) send plan back to LEA with suggested revisions for resubmission</a:t>
            </a:r>
          </a:p>
        </p:txBody>
      </p:sp>
      <p:sp>
        <p:nvSpPr>
          <p:cNvPr id="91" name="Oval 20">
            <a:extLst>
              <a:ext uri="{FF2B5EF4-FFF2-40B4-BE49-F238E27FC236}">
                <a16:creationId xmlns:a16="http://schemas.microsoft.com/office/drawing/2014/main" id="{4A84BE89-4AC1-4780-B0B7-096C2B651241}"/>
              </a:ext>
            </a:extLst>
          </p:cNvPr>
          <p:cNvSpPr>
            <a:spLocks noChangeAspect="1" noChangeArrowheads="1"/>
          </p:cNvSpPr>
          <p:nvPr/>
        </p:nvSpPr>
        <p:spPr bwMode="auto">
          <a:xfrm>
            <a:off x="7875294" y="2271532"/>
            <a:ext cx="306910" cy="306910"/>
          </a:xfrm>
          <a:prstGeom prst="ellipse">
            <a:avLst/>
          </a:prstGeom>
          <a:solidFill>
            <a:srgbClr val="12284C">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100000"/>
                  </a:srgbClr>
                </a:solidFill>
                <a:effectLst/>
                <a:uLnTx/>
                <a:uFillTx/>
                <a:latin typeface="Open Sans"/>
                <a:ea typeface="+mn-ea"/>
                <a:cs typeface="+mn-cs"/>
              </a:rPr>
              <a:t>4</a:t>
            </a:r>
          </a:p>
        </p:txBody>
      </p:sp>
      <p:sp>
        <p:nvSpPr>
          <p:cNvPr id="94" name="TextBox 93">
            <a:extLst>
              <a:ext uri="{FF2B5EF4-FFF2-40B4-BE49-F238E27FC236}">
                <a16:creationId xmlns:a16="http://schemas.microsoft.com/office/drawing/2014/main" id="{CCC7B623-DEAE-4AD1-8677-9BAB0DB0E05F}"/>
              </a:ext>
            </a:extLst>
          </p:cNvPr>
          <p:cNvSpPr txBox="1"/>
          <p:nvPr/>
        </p:nvSpPr>
        <p:spPr>
          <a:xfrm>
            <a:off x="1922609" y="5384306"/>
            <a:ext cx="4616951" cy="5243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Open Sans"/>
                <a:ea typeface="+mn-ea"/>
                <a:cs typeface="+mn-cs"/>
              </a:rPr>
              <a:t>Individual applications and reviews available to entire Task Force and public</a:t>
            </a:r>
          </a:p>
        </p:txBody>
      </p:sp>
      <p:sp>
        <p:nvSpPr>
          <p:cNvPr id="96" name="Rectangle: Rounded Corners 95">
            <a:extLst>
              <a:ext uri="{FF2B5EF4-FFF2-40B4-BE49-F238E27FC236}">
                <a16:creationId xmlns:a16="http://schemas.microsoft.com/office/drawing/2014/main" id="{0BC74F90-F519-4195-A937-248BE356CA42}"/>
              </a:ext>
            </a:extLst>
          </p:cNvPr>
          <p:cNvSpPr/>
          <p:nvPr/>
        </p:nvSpPr>
        <p:spPr>
          <a:xfrm>
            <a:off x="7155403" y="2935701"/>
            <a:ext cx="1746694" cy="2701620"/>
          </a:xfrm>
          <a:prstGeom prst="roundRect">
            <a:avLst/>
          </a:prstGeom>
          <a:solidFill>
            <a:srgbClr val="8994A5"/>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Individual request determination </a:t>
            </a:r>
            <a:r>
              <a:rPr kumimoji="0" lang="en-US" sz="1600" b="0" i="0" u="none" strike="noStrike" kern="1200" cap="none" spc="0" normalizeH="0" baseline="0" noProof="0" dirty="0">
                <a:ln>
                  <a:noFill/>
                </a:ln>
                <a:solidFill>
                  <a:srgbClr val="000000"/>
                </a:solidFill>
                <a:effectLst/>
                <a:uLnTx/>
                <a:uFillTx/>
                <a:latin typeface="Open Sans"/>
                <a:ea typeface="+mn-ea"/>
                <a:cs typeface="+mn-cs"/>
              </a:rPr>
              <a:t>for LEA requests that KSDE deferred to the Task Force</a:t>
            </a:r>
          </a:p>
        </p:txBody>
      </p:sp>
      <p:sp>
        <p:nvSpPr>
          <p:cNvPr id="97" name="Oval 20">
            <a:extLst>
              <a:ext uri="{FF2B5EF4-FFF2-40B4-BE49-F238E27FC236}">
                <a16:creationId xmlns:a16="http://schemas.microsoft.com/office/drawing/2014/main" id="{A64CF441-6535-47D9-B6C7-83089849F139}"/>
              </a:ext>
            </a:extLst>
          </p:cNvPr>
          <p:cNvSpPr>
            <a:spLocks noChangeAspect="1" noChangeArrowheads="1"/>
          </p:cNvSpPr>
          <p:nvPr/>
        </p:nvSpPr>
        <p:spPr bwMode="auto">
          <a:xfrm>
            <a:off x="10227567" y="2271532"/>
            <a:ext cx="306910" cy="306910"/>
          </a:xfrm>
          <a:prstGeom prst="ellipse">
            <a:avLst/>
          </a:prstGeom>
          <a:solidFill>
            <a:srgbClr val="12284C">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100000"/>
                  </a:srgbClr>
                </a:solidFill>
                <a:effectLst/>
                <a:uLnTx/>
                <a:uFillTx/>
                <a:latin typeface="Open Sans"/>
                <a:ea typeface="+mn-ea"/>
                <a:cs typeface="+mn-cs"/>
              </a:rPr>
              <a:t>5</a:t>
            </a:r>
          </a:p>
        </p:txBody>
      </p:sp>
      <p:sp>
        <p:nvSpPr>
          <p:cNvPr id="98" name="Oval 97">
            <a:extLst>
              <a:ext uri="{FF2B5EF4-FFF2-40B4-BE49-F238E27FC236}">
                <a16:creationId xmlns:a16="http://schemas.microsoft.com/office/drawing/2014/main" id="{171BEA90-2AB3-4939-8161-606368D82B2F}"/>
              </a:ext>
            </a:extLst>
          </p:cNvPr>
          <p:cNvSpPr/>
          <p:nvPr/>
        </p:nvSpPr>
        <p:spPr>
          <a:xfrm>
            <a:off x="7788111" y="2670426"/>
            <a:ext cx="481278" cy="481278"/>
          </a:xfrm>
          <a:prstGeom prst="ellipse">
            <a:avLst/>
          </a:prstGeom>
          <a:solidFill>
            <a:srgbClr val="FFFFFF"/>
          </a:solidFill>
          <a:ln w="19050" cap="rnd" cmpd="sng" algn="ctr">
            <a:solidFill>
              <a:srgbClr val="5456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9" name="Oval 98">
            <a:extLst>
              <a:ext uri="{FF2B5EF4-FFF2-40B4-BE49-F238E27FC236}">
                <a16:creationId xmlns:a16="http://schemas.microsoft.com/office/drawing/2014/main" id="{0B4D0503-6819-46AB-844F-FC9FB84F16BC}"/>
              </a:ext>
            </a:extLst>
          </p:cNvPr>
          <p:cNvSpPr/>
          <p:nvPr/>
        </p:nvSpPr>
        <p:spPr>
          <a:xfrm>
            <a:off x="10140383" y="2670426"/>
            <a:ext cx="481278" cy="481278"/>
          </a:xfrm>
          <a:prstGeom prst="ellipse">
            <a:avLst/>
          </a:prstGeom>
          <a:solidFill>
            <a:srgbClr val="FFFFFF"/>
          </a:solidFill>
          <a:ln w="19050" cap="rnd" cmpd="sng" algn="ctr">
            <a:solidFill>
              <a:srgbClr val="54565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111" name="Straight Arrow Connector 110">
            <a:extLst>
              <a:ext uri="{FF2B5EF4-FFF2-40B4-BE49-F238E27FC236}">
                <a16:creationId xmlns:a16="http://schemas.microsoft.com/office/drawing/2014/main" id="{11925FDE-2935-4F29-B9F7-A238C8355912}"/>
              </a:ext>
            </a:extLst>
          </p:cNvPr>
          <p:cNvCxnSpPr>
            <a:cxnSpLocks/>
          </p:cNvCxnSpPr>
          <p:nvPr/>
        </p:nvCxnSpPr>
        <p:spPr>
          <a:xfrm>
            <a:off x="8902097" y="4162549"/>
            <a:ext cx="236878" cy="0"/>
          </a:xfrm>
          <a:prstGeom prst="straightConnector1">
            <a:avLst/>
          </a:prstGeom>
          <a:ln w="19050" cap="rnd" cmpd="sng" algn="ctr">
            <a:solidFill>
              <a:srgbClr val="12284C"/>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5" name="bcgIcons_ThumbsUp">
            <a:extLst>
              <a:ext uri="{FF2B5EF4-FFF2-40B4-BE49-F238E27FC236}">
                <a16:creationId xmlns:a16="http://schemas.microsoft.com/office/drawing/2014/main" id="{C7464BC0-F29F-4275-B8E4-3E6094F3112A}"/>
              </a:ext>
            </a:extLst>
          </p:cNvPr>
          <p:cNvGrpSpPr>
            <a:grpSpLocks noChangeAspect="1"/>
          </p:cNvGrpSpPr>
          <p:nvPr/>
        </p:nvGrpSpPr>
        <p:grpSpPr bwMode="auto">
          <a:xfrm>
            <a:off x="7784639" y="2659626"/>
            <a:ext cx="480832" cy="481278"/>
            <a:chOff x="1682" y="0"/>
            <a:chExt cx="4316" cy="4320"/>
          </a:xfrm>
        </p:grpSpPr>
        <p:sp>
          <p:nvSpPr>
            <p:cNvPr id="66" name="AutoShape 3">
              <a:extLst>
                <a:ext uri="{FF2B5EF4-FFF2-40B4-BE49-F238E27FC236}">
                  <a16:creationId xmlns:a16="http://schemas.microsoft.com/office/drawing/2014/main" id="{27C5A51F-C7AE-4262-9BE7-C7A1730772A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67" name="Freeform 5">
              <a:extLst>
                <a:ext uri="{FF2B5EF4-FFF2-40B4-BE49-F238E27FC236}">
                  <a16:creationId xmlns:a16="http://schemas.microsoft.com/office/drawing/2014/main" id="{7366042D-4056-4A1F-9B79-BC422C886A1C}"/>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rgbClr val="071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69" name="Freeform 6">
              <a:extLst>
                <a:ext uri="{FF2B5EF4-FFF2-40B4-BE49-F238E27FC236}">
                  <a16:creationId xmlns:a16="http://schemas.microsoft.com/office/drawing/2014/main" id="{52E8E381-A7D2-40C9-BF8E-7AC3674F8A52}"/>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rgbClr val="122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nvGrpSpPr>
          <p:cNvPr id="70" name="Group 69">
            <a:extLst>
              <a:ext uri="{FF2B5EF4-FFF2-40B4-BE49-F238E27FC236}">
                <a16:creationId xmlns:a16="http://schemas.microsoft.com/office/drawing/2014/main" id="{1B0A6244-912D-4D6F-805C-D7C6A29F23B2}"/>
              </a:ext>
            </a:extLst>
          </p:cNvPr>
          <p:cNvGrpSpPr>
            <a:grpSpLocks noChangeAspect="1"/>
          </p:cNvGrpSpPr>
          <p:nvPr/>
        </p:nvGrpSpPr>
        <p:grpSpPr>
          <a:xfrm>
            <a:off x="10140152" y="2670426"/>
            <a:ext cx="481742" cy="481278"/>
            <a:chOff x="5273675" y="2606675"/>
            <a:chExt cx="1646238" cy="1644650"/>
          </a:xfrm>
        </p:grpSpPr>
        <p:sp>
          <p:nvSpPr>
            <p:cNvPr id="71" name="AutoShape 3">
              <a:extLst>
                <a:ext uri="{FF2B5EF4-FFF2-40B4-BE49-F238E27FC236}">
                  <a16:creationId xmlns:a16="http://schemas.microsoft.com/office/drawing/2014/main" id="{9D91CDF5-BBC4-471F-BCFB-8211DB853B2D}"/>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nvGrpSpPr>
            <p:cNvPr id="76" name="Group 75">
              <a:extLst>
                <a:ext uri="{FF2B5EF4-FFF2-40B4-BE49-F238E27FC236}">
                  <a16:creationId xmlns:a16="http://schemas.microsoft.com/office/drawing/2014/main" id="{BF98A96E-923A-455B-9094-C0AC735C05DC}"/>
                </a:ext>
              </a:extLst>
            </p:cNvPr>
            <p:cNvGrpSpPr/>
            <p:nvPr/>
          </p:nvGrpSpPr>
          <p:grpSpPr>
            <a:xfrm>
              <a:off x="5646738" y="2774950"/>
              <a:ext cx="999551" cy="1346201"/>
              <a:chOff x="5646738" y="2774950"/>
              <a:chExt cx="999551" cy="1346201"/>
            </a:xfrm>
          </p:grpSpPr>
          <p:sp>
            <p:nvSpPr>
              <p:cNvPr id="77" name="Freeform 26">
                <a:extLst>
                  <a:ext uri="{FF2B5EF4-FFF2-40B4-BE49-F238E27FC236}">
                    <a16:creationId xmlns:a16="http://schemas.microsoft.com/office/drawing/2014/main" id="{10F92E56-6246-44BA-9D53-BA02C44550B2}"/>
                  </a:ext>
                </a:extLst>
              </p:cNvPr>
              <p:cNvSpPr>
                <a:spLocks/>
              </p:cNvSpPr>
              <p:nvPr/>
            </p:nvSpPr>
            <p:spPr bwMode="auto">
              <a:xfrm>
                <a:off x="5646738" y="2889250"/>
                <a:ext cx="898525" cy="1192213"/>
              </a:xfrm>
              <a:custGeom>
                <a:avLst/>
                <a:gdLst>
                  <a:gd name="connsiteX0" fmla="*/ 625475 w 898525"/>
                  <a:gd name="connsiteY0" fmla="*/ 0 h 1192213"/>
                  <a:gd name="connsiteX1" fmla="*/ 882800 w 898525"/>
                  <a:gd name="connsiteY1" fmla="*/ 0 h 1192213"/>
                  <a:gd name="connsiteX2" fmla="*/ 898525 w 898525"/>
                  <a:gd name="connsiteY2" fmla="*/ 15701 h 1192213"/>
                  <a:gd name="connsiteX3" fmla="*/ 898525 w 898525"/>
                  <a:gd name="connsiteY3" fmla="*/ 835025 h 1192213"/>
                  <a:gd name="connsiteX4" fmla="*/ 867074 w 898525"/>
                  <a:gd name="connsiteY4" fmla="*/ 823606 h 1192213"/>
                  <a:gd name="connsiteX5" fmla="*/ 867074 w 898525"/>
                  <a:gd name="connsiteY5" fmla="*/ 31403 h 1192213"/>
                  <a:gd name="connsiteX6" fmla="*/ 625475 w 898525"/>
                  <a:gd name="connsiteY6" fmla="*/ 31403 h 1192213"/>
                  <a:gd name="connsiteX7" fmla="*/ 625475 w 898525"/>
                  <a:gd name="connsiteY7" fmla="*/ 0 h 1192213"/>
                  <a:gd name="connsiteX8" fmla="*/ 15734 w 898525"/>
                  <a:gd name="connsiteY8" fmla="*/ 0 h 1192213"/>
                  <a:gd name="connsiteX9" fmla="*/ 273195 w 898525"/>
                  <a:gd name="connsiteY9" fmla="*/ 0 h 1192213"/>
                  <a:gd name="connsiteX10" fmla="*/ 273195 w 898525"/>
                  <a:gd name="connsiteY10" fmla="*/ 31412 h 1192213"/>
                  <a:gd name="connsiteX11" fmla="*/ 31468 w 898525"/>
                  <a:gd name="connsiteY11" fmla="*/ 31412 h 1192213"/>
                  <a:gd name="connsiteX12" fmla="*/ 31468 w 898525"/>
                  <a:gd name="connsiteY12" fmla="*/ 1160802 h 1192213"/>
                  <a:gd name="connsiteX13" fmla="*/ 618622 w 898525"/>
                  <a:gd name="connsiteY13" fmla="*/ 1160802 h 1192213"/>
                  <a:gd name="connsiteX14" fmla="*/ 642938 w 898525"/>
                  <a:gd name="connsiteY14" fmla="*/ 1192213 h 1192213"/>
                  <a:gd name="connsiteX15" fmla="*/ 15734 w 898525"/>
                  <a:gd name="connsiteY15" fmla="*/ 1192213 h 1192213"/>
                  <a:gd name="connsiteX16" fmla="*/ 0 w 898525"/>
                  <a:gd name="connsiteY16" fmla="*/ 1176507 h 1192213"/>
                  <a:gd name="connsiteX17" fmla="*/ 0 w 898525"/>
                  <a:gd name="connsiteY17" fmla="*/ 15706 h 1192213"/>
                  <a:gd name="connsiteX18" fmla="*/ 15734 w 898525"/>
                  <a:gd name="connsiteY18"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8525" h="1192213">
                    <a:moveTo>
                      <a:pt x="625475" y="0"/>
                    </a:moveTo>
                    <a:cubicBezTo>
                      <a:pt x="625475" y="0"/>
                      <a:pt x="625475" y="0"/>
                      <a:pt x="882800" y="0"/>
                    </a:cubicBezTo>
                    <a:cubicBezTo>
                      <a:pt x="892092" y="0"/>
                      <a:pt x="898525" y="7137"/>
                      <a:pt x="898525" y="15701"/>
                    </a:cubicBezTo>
                    <a:cubicBezTo>
                      <a:pt x="898525" y="15701"/>
                      <a:pt x="898525" y="15701"/>
                      <a:pt x="898525" y="835025"/>
                    </a:cubicBezTo>
                    <a:cubicBezTo>
                      <a:pt x="888518" y="830743"/>
                      <a:pt x="878511" y="826461"/>
                      <a:pt x="867074" y="823606"/>
                    </a:cubicBezTo>
                    <a:cubicBezTo>
                      <a:pt x="867074" y="823606"/>
                      <a:pt x="867074" y="823606"/>
                      <a:pt x="867074" y="31403"/>
                    </a:cubicBezTo>
                    <a:cubicBezTo>
                      <a:pt x="867074" y="31403"/>
                      <a:pt x="867074" y="31403"/>
                      <a:pt x="625475" y="31403"/>
                    </a:cubicBezTo>
                    <a:cubicBezTo>
                      <a:pt x="625475" y="31403"/>
                      <a:pt x="625475" y="31403"/>
                      <a:pt x="625475" y="0"/>
                    </a:cubicBezTo>
                    <a:close/>
                    <a:moveTo>
                      <a:pt x="15734" y="0"/>
                    </a:moveTo>
                    <a:cubicBezTo>
                      <a:pt x="15734" y="0"/>
                      <a:pt x="15734" y="0"/>
                      <a:pt x="273195" y="0"/>
                    </a:cubicBezTo>
                    <a:cubicBezTo>
                      <a:pt x="273195" y="0"/>
                      <a:pt x="273195" y="0"/>
                      <a:pt x="273195" y="31412"/>
                    </a:cubicBezTo>
                    <a:cubicBezTo>
                      <a:pt x="273195" y="31412"/>
                      <a:pt x="273195" y="31412"/>
                      <a:pt x="31468" y="31412"/>
                    </a:cubicBezTo>
                    <a:cubicBezTo>
                      <a:pt x="31468" y="31412"/>
                      <a:pt x="31468" y="31412"/>
                      <a:pt x="31468" y="1160802"/>
                    </a:cubicBezTo>
                    <a:cubicBezTo>
                      <a:pt x="31468" y="1160802"/>
                      <a:pt x="31468" y="1160802"/>
                      <a:pt x="618622" y="1160802"/>
                    </a:cubicBezTo>
                    <a:cubicBezTo>
                      <a:pt x="625774" y="1172224"/>
                      <a:pt x="633641" y="1182932"/>
                      <a:pt x="642938" y="1192213"/>
                    </a:cubicBezTo>
                    <a:cubicBezTo>
                      <a:pt x="642938" y="1192213"/>
                      <a:pt x="642938" y="1192213"/>
                      <a:pt x="15734" y="1192213"/>
                    </a:cubicBezTo>
                    <a:cubicBezTo>
                      <a:pt x="6437" y="1192213"/>
                      <a:pt x="0" y="1185788"/>
                      <a:pt x="0" y="1176507"/>
                    </a:cubicBezTo>
                    <a:cubicBezTo>
                      <a:pt x="0" y="1176507"/>
                      <a:pt x="0" y="1176507"/>
                      <a:pt x="0" y="15706"/>
                    </a:cubicBezTo>
                    <a:cubicBezTo>
                      <a:pt x="0" y="7139"/>
                      <a:pt x="6437" y="0"/>
                      <a:pt x="15734" y="0"/>
                    </a:cubicBezTo>
                    <a:close/>
                  </a:path>
                </a:pathLst>
              </a:custGeom>
              <a:solidFill>
                <a:srgbClr val="071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80" name="Freeform 25">
                <a:extLst>
                  <a:ext uri="{FF2B5EF4-FFF2-40B4-BE49-F238E27FC236}">
                    <a16:creationId xmlns:a16="http://schemas.microsoft.com/office/drawing/2014/main" id="{9A5B97BA-88B3-4F83-AD0E-9B84CA7CC7B9}"/>
                  </a:ext>
                </a:extLst>
              </p:cNvPr>
              <p:cNvSpPr>
                <a:spLocks/>
              </p:cNvSpPr>
              <p:nvPr/>
            </p:nvSpPr>
            <p:spPr bwMode="auto">
              <a:xfrm>
                <a:off x="5783263" y="2774950"/>
                <a:ext cx="863026" cy="1346201"/>
              </a:xfrm>
              <a:custGeom>
                <a:avLst/>
                <a:gdLst>
                  <a:gd name="connsiteX0" fmla="*/ 789902 w 863026"/>
                  <a:gd name="connsiteY0" fmla="*/ 1074664 h 1346201"/>
                  <a:gd name="connsiteX1" fmla="*/ 778541 w 863026"/>
                  <a:gd name="connsiteY1" fmla="*/ 1078848 h 1346201"/>
                  <a:gd name="connsiteX2" fmla="*/ 762082 w 863026"/>
                  <a:gd name="connsiteY2" fmla="*/ 1094518 h 1346201"/>
                  <a:gd name="connsiteX3" fmla="*/ 730596 w 863026"/>
                  <a:gd name="connsiteY3" fmla="*/ 1124433 h 1346201"/>
                  <a:gd name="connsiteX4" fmla="*/ 627548 w 863026"/>
                  <a:gd name="connsiteY4" fmla="*/ 1223437 h 1346201"/>
                  <a:gd name="connsiteX5" fmla="*/ 558850 w 863026"/>
                  <a:gd name="connsiteY5" fmla="*/ 1155060 h 1346201"/>
                  <a:gd name="connsiteX6" fmla="*/ 536666 w 863026"/>
                  <a:gd name="connsiteY6" fmla="*/ 1155060 h 1346201"/>
                  <a:gd name="connsiteX7" fmla="*/ 536666 w 863026"/>
                  <a:gd name="connsiteY7" fmla="*/ 1177140 h 1346201"/>
                  <a:gd name="connsiteX8" fmla="*/ 616098 w 863026"/>
                  <a:gd name="connsiteY8" fmla="*/ 1256202 h 1346201"/>
                  <a:gd name="connsiteX9" fmla="*/ 626832 w 863026"/>
                  <a:gd name="connsiteY9" fmla="*/ 1260475 h 1346201"/>
                  <a:gd name="connsiteX10" fmla="*/ 637567 w 863026"/>
                  <a:gd name="connsiteY10" fmla="*/ 1256202 h 1346201"/>
                  <a:gd name="connsiteX11" fmla="*/ 730596 w 863026"/>
                  <a:gd name="connsiteY11" fmla="*/ 1167881 h 1346201"/>
                  <a:gd name="connsiteX12" fmla="*/ 762082 w 863026"/>
                  <a:gd name="connsiteY12" fmla="*/ 1137966 h 1346201"/>
                  <a:gd name="connsiteX13" fmla="*/ 800010 w 863026"/>
                  <a:gd name="connsiteY13" fmla="*/ 1101641 h 1346201"/>
                  <a:gd name="connsiteX14" fmla="*/ 800725 w 863026"/>
                  <a:gd name="connsiteY14" fmla="*/ 1079560 h 1346201"/>
                  <a:gd name="connsiteX15" fmla="*/ 789902 w 863026"/>
                  <a:gd name="connsiteY15" fmla="*/ 1074664 h 1346201"/>
                  <a:gd name="connsiteX16" fmla="*/ 15705 w 863026"/>
                  <a:gd name="connsiteY16" fmla="*/ 1057275 h 1346201"/>
                  <a:gd name="connsiteX17" fmla="*/ 468313 w 863026"/>
                  <a:gd name="connsiteY17" fmla="*/ 1057275 h 1346201"/>
                  <a:gd name="connsiteX18" fmla="*/ 456177 w 863026"/>
                  <a:gd name="connsiteY18" fmla="*/ 1089025 h 1346201"/>
                  <a:gd name="connsiteX19" fmla="*/ 15705 w 863026"/>
                  <a:gd name="connsiteY19" fmla="*/ 1089025 h 1346201"/>
                  <a:gd name="connsiteX20" fmla="*/ 0 w 863026"/>
                  <a:gd name="connsiteY20" fmla="*/ 1073150 h 1346201"/>
                  <a:gd name="connsiteX21" fmla="*/ 15705 w 863026"/>
                  <a:gd name="connsiteY21" fmla="*/ 1057275 h 1346201"/>
                  <a:gd name="connsiteX22" fmla="*/ 670322 w 863026"/>
                  <a:gd name="connsiteY22" fmla="*/ 960438 h 1346201"/>
                  <a:gd name="connsiteX23" fmla="*/ 731044 w 863026"/>
                  <a:gd name="connsiteY23" fmla="*/ 970439 h 1346201"/>
                  <a:gd name="connsiteX24" fmla="*/ 762477 w 863026"/>
                  <a:gd name="connsiteY24" fmla="*/ 984013 h 1346201"/>
                  <a:gd name="connsiteX25" fmla="*/ 808911 w 863026"/>
                  <a:gd name="connsiteY25" fmla="*/ 1019731 h 1346201"/>
                  <a:gd name="connsiteX26" fmla="*/ 820341 w 863026"/>
                  <a:gd name="connsiteY26" fmla="*/ 1274764 h 1346201"/>
                  <a:gd name="connsiteX27" fmla="*/ 803911 w 863026"/>
                  <a:gd name="connsiteY27" fmla="*/ 1292623 h 1346201"/>
                  <a:gd name="connsiteX28" fmla="*/ 788194 w 863026"/>
                  <a:gd name="connsiteY28" fmla="*/ 1306196 h 1346201"/>
                  <a:gd name="connsiteX29" fmla="*/ 787480 w 863026"/>
                  <a:gd name="connsiteY29" fmla="*/ 1306196 h 1346201"/>
                  <a:gd name="connsiteX30" fmla="*/ 670322 w 863026"/>
                  <a:gd name="connsiteY30" fmla="*/ 1346201 h 1346201"/>
                  <a:gd name="connsiteX31" fmla="*/ 552450 w 863026"/>
                  <a:gd name="connsiteY31" fmla="*/ 1306196 h 1346201"/>
                  <a:gd name="connsiteX32" fmla="*/ 531019 w 863026"/>
                  <a:gd name="connsiteY32" fmla="*/ 1287622 h 1346201"/>
                  <a:gd name="connsiteX33" fmla="*/ 520303 w 863026"/>
                  <a:gd name="connsiteY33" fmla="*/ 1274764 h 1346201"/>
                  <a:gd name="connsiteX34" fmla="*/ 488871 w 863026"/>
                  <a:gd name="connsiteY34" fmla="*/ 1088311 h 1346201"/>
                  <a:gd name="connsiteX35" fmla="*/ 503158 w 863026"/>
                  <a:gd name="connsiteY35" fmla="*/ 1056879 h 1346201"/>
                  <a:gd name="connsiteX36" fmla="*/ 536734 w 863026"/>
                  <a:gd name="connsiteY36" fmla="*/ 1014731 h 1346201"/>
                  <a:gd name="connsiteX37" fmla="*/ 603885 w 863026"/>
                  <a:gd name="connsiteY37" fmla="*/ 972583 h 1346201"/>
                  <a:gd name="connsiteX38" fmla="*/ 623888 w 863026"/>
                  <a:gd name="connsiteY38" fmla="*/ 966153 h 1346201"/>
                  <a:gd name="connsiteX39" fmla="*/ 670322 w 863026"/>
                  <a:gd name="connsiteY39" fmla="*/ 960438 h 1346201"/>
                  <a:gd name="connsiteX40" fmla="*/ 15693 w 863026"/>
                  <a:gd name="connsiteY40" fmla="*/ 941388 h 1346201"/>
                  <a:gd name="connsiteX41" fmla="*/ 598488 w 863026"/>
                  <a:gd name="connsiteY41" fmla="*/ 941388 h 1346201"/>
                  <a:gd name="connsiteX42" fmla="*/ 537855 w 863026"/>
                  <a:gd name="connsiteY42" fmla="*/ 973138 h 1346201"/>
                  <a:gd name="connsiteX43" fmla="*/ 15693 w 863026"/>
                  <a:gd name="connsiteY43" fmla="*/ 973138 h 1346201"/>
                  <a:gd name="connsiteX44" fmla="*/ 0 w 863026"/>
                  <a:gd name="connsiteY44" fmla="*/ 957263 h 1346201"/>
                  <a:gd name="connsiteX45" fmla="*/ 15693 w 863026"/>
                  <a:gd name="connsiteY45" fmla="*/ 941388 h 1346201"/>
                  <a:gd name="connsiteX46" fmla="*/ 15712 w 863026"/>
                  <a:gd name="connsiteY46" fmla="*/ 825500 h 1346201"/>
                  <a:gd name="connsiteX47" fmla="*/ 611351 w 863026"/>
                  <a:gd name="connsiteY47" fmla="*/ 825500 h 1346201"/>
                  <a:gd name="connsiteX48" fmla="*/ 627063 w 863026"/>
                  <a:gd name="connsiteY48" fmla="*/ 841375 h 1346201"/>
                  <a:gd name="connsiteX49" fmla="*/ 611351 w 863026"/>
                  <a:gd name="connsiteY49" fmla="*/ 857250 h 1346201"/>
                  <a:gd name="connsiteX50" fmla="*/ 15712 w 863026"/>
                  <a:gd name="connsiteY50" fmla="*/ 857250 h 1346201"/>
                  <a:gd name="connsiteX51" fmla="*/ 0 w 863026"/>
                  <a:gd name="connsiteY51" fmla="*/ 841375 h 1346201"/>
                  <a:gd name="connsiteX52" fmla="*/ 15712 w 863026"/>
                  <a:gd name="connsiteY52" fmla="*/ 825500 h 1346201"/>
                  <a:gd name="connsiteX53" fmla="*/ 15712 w 863026"/>
                  <a:gd name="connsiteY53" fmla="*/ 709613 h 1346201"/>
                  <a:gd name="connsiteX54" fmla="*/ 611351 w 863026"/>
                  <a:gd name="connsiteY54" fmla="*/ 709613 h 1346201"/>
                  <a:gd name="connsiteX55" fmla="*/ 627063 w 863026"/>
                  <a:gd name="connsiteY55" fmla="*/ 725488 h 1346201"/>
                  <a:gd name="connsiteX56" fmla="*/ 611351 w 863026"/>
                  <a:gd name="connsiteY56" fmla="*/ 741363 h 1346201"/>
                  <a:gd name="connsiteX57" fmla="*/ 15712 w 863026"/>
                  <a:gd name="connsiteY57" fmla="*/ 741363 h 1346201"/>
                  <a:gd name="connsiteX58" fmla="*/ 0 w 863026"/>
                  <a:gd name="connsiteY58" fmla="*/ 725488 h 1346201"/>
                  <a:gd name="connsiteX59" fmla="*/ 15712 w 863026"/>
                  <a:gd name="connsiteY59" fmla="*/ 709613 h 1346201"/>
                  <a:gd name="connsiteX60" fmla="*/ 15712 w 863026"/>
                  <a:gd name="connsiteY60" fmla="*/ 593725 h 1346201"/>
                  <a:gd name="connsiteX61" fmla="*/ 611351 w 863026"/>
                  <a:gd name="connsiteY61" fmla="*/ 593725 h 1346201"/>
                  <a:gd name="connsiteX62" fmla="*/ 627063 w 863026"/>
                  <a:gd name="connsiteY62" fmla="*/ 609600 h 1346201"/>
                  <a:gd name="connsiteX63" fmla="*/ 611351 w 863026"/>
                  <a:gd name="connsiteY63" fmla="*/ 625475 h 1346201"/>
                  <a:gd name="connsiteX64" fmla="*/ 15712 w 863026"/>
                  <a:gd name="connsiteY64" fmla="*/ 625475 h 1346201"/>
                  <a:gd name="connsiteX65" fmla="*/ 0 w 863026"/>
                  <a:gd name="connsiteY65" fmla="*/ 609600 h 1346201"/>
                  <a:gd name="connsiteX66" fmla="*/ 15712 w 863026"/>
                  <a:gd name="connsiteY66" fmla="*/ 593725 h 1346201"/>
                  <a:gd name="connsiteX67" fmla="*/ 15712 w 863026"/>
                  <a:gd name="connsiteY67" fmla="*/ 477838 h 1346201"/>
                  <a:gd name="connsiteX68" fmla="*/ 611351 w 863026"/>
                  <a:gd name="connsiteY68" fmla="*/ 477838 h 1346201"/>
                  <a:gd name="connsiteX69" fmla="*/ 627063 w 863026"/>
                  <a:gd name="connsiteY69" fmla="*/ 493713 h 1346201"/>
                  <a:gd name="connsiteX70" fmla="*/ 611351 w 863026"/>
                  <a:gd name="connsiteY70" fmla="*/ 509588 h 1346201"/>
                  <a:gd name="connsiteX71" fmla="*/ 15712 w 863026"/>
                  <a:gd name="connsiteY71" fmla="*/ 509588 h 1346201"/>
                  <a:gd name="connsiteX72" fmla="*/ 0 w 863026"/>
                  <a:gd name="connsiteY72" fmla="*/ 493713 h 1346201"/>
                  <a:gd name="connsiteX73" fmla="*/ 15712 w 863026"/>
                  <a:gd name="connsiteY73" fmla="*/ 477838 h 1346201"/>
                  <a:gd name="connsiteX74" fmla="*/ 15712 w 863026"/>
                  <a:gd name="connsiteY74" fmla="*/ 361950 h 1346201"/>
                  <a:gd name="connsiteX75" fmla="*/ 611351 w 863026"/>
                  <a:gd name="connsiteY75" fmla="*/ 361950 h 1346201"/>
                  <a:gd name="connsiteX76" fmla="*/ 627063 w 863026"/>
                  <a:gd name="connsiteY76" fmla="*/ 377825 h 1346201"/>
                  <a:gd name="connsiteX77" fmla="*/ 611351 w 863026"/>
                  <a:gd name="connsiteY77" fmla="*/ 393700 h 1346201"/>
                  <a:gd name="connsiteX78" fmla="*/ 15712 w 863026"/>
                  <a:gd name="connsiteY78" fmla="*/ 393700 h 1346201"/>
                  <a:gd name="connsiteX79" fmla="*/ 0 w 863026"/>
                  <a:gd name="connsiteY79" fmla="*/ 377825 h 1346201"/>
                  <a:gd name="connsiteX80" fmla="*/ 15712 w 863026"/>
                  <a:gd name="connsiteY80" fmla="*/ 361950 h 1346201"/>
                  <a:gd name="connsiteX81" fmla="*/ 312738 w 863026"/>
                  <a:gd name="connsiteY81" fmla="*/ 31750 h 1346201"/>
                  <a:gd name="connsiteX82" fmla="*/ 290655 w 863026"/>
                  <a:gd name="connsiteY82" fmla="*/ 35314 h 1346201"/>
                  <a:gd name="connsiteX83" fmla="*/ 257175 w 863026"/>
                  <a:gd name="connsiteY83" fmla="*/ 66675 h 1346201"/>
                  <a:gd name="connsiteX84" fmla="*/ 368300 w 863026"/>
                  <a:gd name="connsiteY84" fmla="*/ 66675 h 1346201"/>
                  <a:gd name="connsiteX85" fmla="*/ 334820 w 863026"/>
                  <a:gd name="connsiteY85" fmla="*/ 35314 h 1346201"/>
                  <a:gd name="connsiteX86" fmla="*/ 312738 w 863026"/>
                  <a:gd name="connsiteY86" fmla="*/ 31750 h 1346201"/>
                  <a:gd name="connsiteX87" fmla="*/ 312737 w 863026"/>
                  <a:gd name="connsiteY87" fmla="*/ 0 h 1346201"/>
                  <a:gd name="connsiteX88" fmla="*/ 385762 w 863026"/>
                  <a:gd name="connsiteY88" fmla="*/ 34890 h 1346201"/>
                  <a:gd name="connsiteX89" fmla="*/ 402229 w 863026"/>
                  <a:gd name="connsiteY89" fmla="*/ 66220 h 1346201"/>
                  <a:gd name="connsiteX90" fmla="*/ 451628 w 863026"/>
                  <a:gd name="connsiteY90" fmla="*/ 66220 h 1346201"/>
                  <a:gd name="connsiteX91" fmla="*/ 458787 w 863026"/>
                  <a:gd name="connsiteY91" fmla="*/ 73340 h 1346201"/>
                  <a:gd name="connsiteX92" fmla="*/ 458787 w 863026"/>
                  <a:gd name="connsiteY92" fmla="*/ 113927 h 1346201"/>
                  <a:gd name="connsiteX93" fmla="*/ 458787 w 863026"/>
                  <a:gd name="connsiteY93" fmla="*/ 145256 h 1346201"/>
                  <a:gd name="connsiteX94" fmla="*/ 458787 w 863026"/>
                  <a:gd name="connsiteY94" fmla="*/ 178010 h 1346201"/>
                  <a:gd name="connsiteX95" fmla="*/ 443037 w 863026"/>
                  <a:gd name="connsiteY95" fmla="*/ 193675 h 1346201"/>
                  <a:gd name="connsiteX96" fmla="*/ 182438 w 863026"/>
                  <a:gd name="connsiteY96" fmla="*/ 193675 h 1346201"/>
                  <a:gd name="connsiteX97" fmla="*/ 166687 w 863026"/>
                  <a:gd name="connsiteY97" fmla="*/ 178010 h 1346201"/>
                  <a:gd name="connsiteX98" fmla="*/ 166687 w 863026"/>
                  <a:gd name="connsiteY98" fmla="*/ 145256 h 1346201"/>
                  <a:gd name="connsiteX99" fmla="*/ 166687 w 863026"/>
                  <a:gd name="connsiteY99" fmla="*/ 113927 h 1346201"/>
                  <a:gd name="connsiteX100" fmla="*/ 166687 w 863026"/>
                  <a:gd name="connsiteY100" fmla="*/ 73340 h 1346201"/>
                  <a:gd name="connsiteX101" fmla="*/ 173847 w 863026"/>
                  <a:gd name="connsiteY101" fmla="*/ 66220 h 1346201"/>
                  <a:gd name="connsiteX102" fmla="*/ 223246 w 863026"/>
                  <a:gd name="connsiteY102" fmla="*/ 66220 h 1346201"/>
                  <a:gd name="connsiteX103" fmla="*/ 239712 w 863026"/>
                  <a:gd name="connsiteY103" fmla="*/ 34890 h 1346201"/>
                  <a:gd name="connsiteX104" fmla="*/ 312737 w 863026"/>
                  <a:gd name="connsiteY104" fmla="*/ 0 h 134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863026" h="1346201">
                    <a:moveTo>
                      <a:pt x="789902" y="1074664"/>
                    </a:moveTo>
                    <a:cubicBezTo>
                      <a:pt x="785876" y="1074575"/>
                      <a:pt x="781761" y="1075999"/>
                      <a:pt x="778541" y="1078848"/>
                    </a:cubicBezTo>
                    <a:cubicBezTo>
                      <a:pt x="778541" y="1078848"/>
                      <a:pt x="778541" y="1078848"/>
                      <a:pt x="762082" y="1094518"/>
                    </a:cubicBezTo>
                    <a:cubicBezTo>
                      <a:pt x="762082" y="1094518"/>
                      <a:pt x="762082" y="1094518"/>
                      <a:pt x="730596" y="1124433"/>
                    </a:cubicBezTo>
                    <a:cubicBezTo>
                      <a:pt x="730596" y="1124433"/>
                      <a:pt x="730596" y="1124433"/>
                      <a:pt x="627548" y="1223437"/>
                    </a:cubicBezTo>
                    <a:cubicBezTo>
                      <a:pt x="627548" y="1223437"/>
                      <a:pt x="627548" y="1223437"/>
                      <a:pt x="558850" y="1155060"/>
                    </a:cubicBezTo>
                    <a:cubicBezTo>
                      <a:pt x="552409" y="1148650"/>
                      <a:pt x="542391" y="1148650"/>
                      <a:pt x="536666" y="1155060"/>
                    </a:cubicBezTo>
                    <a:cubicBezTo>
                      <a:pt x="530225" y="1160758"/>
                      <a:pt x="530225" y="1170730"/>
                      <a:pt x="536666" y="1177140"/>
                    </a:cubicBezTo>
                    <a:cubicBezTo>
                      <a:pt x="536666" y="1177140"/>
                      <a:pt x="536666" y="1177140"/>
                      <a:pt x="616098" y="1256202"/>
                    </a:cubicBezTo>
                    <a:cubicBezTo>
                      <a:pt x="618961" y="1259051"/>
                      <a:pt x="623254" y="1260475"/>
                      <a:pt x="626832" y="1260475"/>
                    </a:cubicBezTo>
                    <a:cubicBezTo>
                      <a:pt x="631126" y="1260475"/>
                      <a:pt x="634704" y="1259051"/>
                      <a:pt x="637567" y="1256202"/>
                    </a:cubicBezTo>
                    <a:cubicBezTo>
                      <a:pt x="637567" y="1256202"/>
                      <a:pt x="637567" y="1256202"/>
                      <a:pt x="730596" y="1167881"/>
                    </a:cubicBezTo>
                    <a:cubicBezTo>
                      <a:pt x="730596" y="1167881"/>
                      <a:pt x="730596" y="1167881"/>
                      <a:pt x="762082" y="1137966"/>
                    </a:cubicBezTo>
                    <a:cubicBezTo>
                      <a:pt x="762082" y="1137966"/>
                      <a:pt x="762082" y="1137966"/>
                      <a:pt x="800010" y="1101641"/>
                    </a:cubicBezTo>
                    <a:cubicBezTo>
                      <a:pt x="806450" y="1095943"/>
                      <a:pt x="806450" y="1085971"/>
                      <a:pt x="800725" y="1079560"/>
                    </a:cubicBezTo>
                    <a:cubicBezTo>
                      <a:pt x="797863" y="1076355"/>
                      <a:pt x="793927" y="1074753"/>
                      <a:pt x="789902" y="1074664"/>
                    </a:cubicBezTo>
                    <a:close/>
                    <a:moveTo>
                      <a:pt x="15705" y="1057275"/>
                    </a:moveTo>
                    <a:cubicBezTo>
                      <a:pt x="15705" y="1057275"/>
                      <a:pt x="15705" y="1057275"/>
                      <a:pt x="468313" y="1057275"/>
                    </a:cubicBezTo>
                    <a:cubicBezTo>
                      <a:pt x="463316" y="1067377"/>
                      <a:pt x="459032" y="1078201"/>
                      <a:pt x="456177" y="1089025"/>
                    </a:cubicBezTo>
                    <a:cubicBezTo>
                      <a:pt x="456177" y="1089025"/>
                      <a:pt x="456177" y="1089025"/>
                      <a:pt x="15705" y="1089025"/>
                    </a:cubicBezTo>
                    <a:cubicBezTo>
                      <a:pt x="6425" y="1089025"/>
                      <a:pt x="0" y="1081809"/>
                      <a:pt x="0" y="1073150"/>
                    </a:cubicBezTo>
                    <a:cubicBezTo>
                      <a:pt x="0" y="1064491"/>
                      <a:pt x="6425" y="1057275"/>
                      <a:pt x="15705" y="1057275"/>
                    </a:cubicBezTo>
                    <a:close/>
                    <a:moveTo>
                      <a:pt x="670322" y="960438"/>
                    </a:moveTo>
                    <a:cubicBezTo>
                      <a:pt x="691039" y="960438"/>
                      <a:pt x="711756" y="964010"/>
                      <a:pt x="731044" y="970439"/>
                    </a:cubicBezTo>
                    <a:cubicBezTo>
                      <a:pt x="742474" y="974011"/>
                      <a:pt x="752476" y="979012"/>
                      <a:pt x="762477" y="984013"/>
                    </a:cubicBezTo>
                    <a:cubicBezTo>
                      <a:pt x="779622" y="993299"/>
                      <a:pt x="795338" y="1005444"/>
                      <a:pt x="808911" y="1019731"/>
                    </a:cubicBezTo>
                    <a:cubicBezTo>
                      <a:pt x="876777" y="1089740"/>
                      <a:pt x="881063" y="1199754"/>
                      <a:pt x="820341" y="1274764"/>
                    </a:cubicBezTo>
                    <a:cubicBezTo>
                      <a:pt x="815341" y="1281193"/>
                      <a:pt x="809626" y="1286908"/>
                      <a:pt x="803911" y="1292623"/>
                    </a:cubicBezTo>
                    <a:cubicBezTo>
                      <a:pt x="797481" y="1298338"/>
                      <a:pt x="793195" y="1302624"/>
                      <a:pt x="788194" y="1306196"/>
                    </a:cubicBezTo>
                    <a:cubicBezTo>
                      <a:pt x="788194" y="1306196"/>
                      <a:pt x="788194" y="1306196"/>
                      <a:pt x="787480" y="1306196"/>
                    </a:cubicBezTo>
                    <a:cubicBezTo>
                      <a:pt x="754619" y="1331914"/>
                      <a:pt x="712471" y="1346201"/>
                      <a:pt x="670322" y="1346201"/>
                    </a:cubicBezTo>
                    <a:cubicBezTo>
                      <a:pt x="626745" y="1346201"/>
                      <a:pt x="586026" y="1332628"/>
                      <a:pt x="552450" y="1306196"/>
                    </a:cubicBezTo>
                    <a:cubicBezTo>
                      <a:pt x="545307" y="1300481"/>
                      <a:pt x="538163" y="1294052"/>
                      <a:pt x="531019" y="1287622"/>
                    </a:cubicBezTo>
                    <a:cubicBezTo>
                      <a:pt x="527447" y="1283336"/>
                      <a:pt x="523875" y="1279050"/>
                      <a:pt x="520303" y="1274764"/>
                    </a:cubicBezTo>
                    <a:cubicBezTo>
                      <a:pt x="476727" y="1221900"/>
                      <a:pt x="466725" y="1150462"/>
                      <a:pt x="488871" y="1088311"/>
                    </a:cubicBezTo>
                    <a:cubicBezTo>
                      <a:pt x="492443" y="1077596"/>
                      <a:pt x="497443" y="1066880"/>
                      <a:pt x="503158" y="1056879"/>
                    </a:cubicBezTo>
                    <a:cubicBezTo>
                      <a:pt x="512445" y="1041877"/>
                      <a:pt x="523161" y="1027589"/>
                      <a:pt x="536734" y="1014731"/>
                    </a:cubicBezTo>
                    <a:cubicBezTo>
                      <a:pt x="556022" y="995443"/>
                      <a:pt x="578882" y="981155"/>
                      <a:pt x="603885" y="972583"/>
                    </a:cubicBezTo>
                    <a:cubicBezTo>
                      <a:pt x="610315" y="969725"/>
                      <a:pt x="616744" y="968296"/>
                      <a:pt x="623888" y="966153"/>
                    </a:cubicBezTo>
                    <a:cubicBezTo>
                      <a:pt x="638890" y="962581"/>
                      <a:pt x="654606" y="960438"/>
                      <a:pt x="670322" y="960438"/>
                    </a:cubicBezTo>
                    <a:close/>
                    <a:moveTo>
                      <a:pt x="15693" y="941388"/>
                    </a:moveTo>
                    <a:cubicBezTo>
                      <a:pt x="15693" y="941388"/>
                      <a:pt x="15693" y="941388"/>
                      <a:pt x="598488" y="941388"/>
                    </a:cubicBezTo>
                    <a:cubicBezTo>
                      <a:pt x="576375" y="948604"/>
                      <a:pt x="556401" y="959428"/>
                      <a:pt x="537855" y="973138"/>
                    </a:cubicBezTo>
                    <a:cubicBezTo>
                      <a:pt x="537855" y="973138"/>
                      <a:pt x="537855" y="973138"/>
                      <a:pt x="15693" y="973138"/>
                    </a:cubicBezTo>
                    <a:cubicBezTo>
                      <a:pt x="6420" y="973138"/>
                      <a:pt x="0" y="965922"/>
                      <a:pt x="0" y="957263"/>
                    </a:cubicBezTo>
                    <a:cubicBezTo>
                      <a:pt x="0" y="948604"/>
                      <a:pt x="6420" y="941388"/>
                      <a:pt x="15693" y="941388"/>
                    </a:cubicBezTo>
                    <a:close/>
                    <a:moveTo>
                      <a:pt x="15712" y="825500"/>
                    </a:moveTo>
                    <a:cubicBezTo>
                      <a:pt x="15712" y="825500"/>
                      <a:pt x="15712" y="825500"/>
                      <a:pt x="611351" y="825500"/>
                    </a:cubicBezTo>
                    <a:cubicBezTo>
                      <a:pt x="620635" y="825500"/>
                      <a:pt x="627063" y="832716"/>
                      <a:pt x="627063" y="841375"/>
                    </a:cubicBezTo>
                    <a:cubicBezTo>
                      <a:pt x="627063" y="850756"/>
                      <a:pt x="620635" y="857250"/>
                      <a:pt x="611351" y="857250"/>
                    </a:cubicBezTo>
                    <a:cubicBezTo>
                      <a:pt x="611351" y="857250"/>
                      <a:pt x="611351" y="857250"/>
                      <a:pt x="15712" y="857250"/>
                    </a:cubicBezTo>
                    <a:cubicBezTo>
                      <a:pt x="6428" y="857250"/>
                      <a:pt x="0" y="850756"/>
                      <a:pt x="0" y="841375"/>
                    </a:cubicBezTo>
                    <a:cubicBezTo>
                      <a:pt x="0" y="832716"/>
                      <a:pt x="6428" y="825500"/>
                      <a:pt x="15712" y="825500"/>
                    </a:cubicBezTo>
                    <a:close/>
                    <a:moveTo>
                      <a:pt x="15712" y="709613"/>
                    </a:moveTo>
                    <a:cubicBezTo>
                      <a:pt x="15712" y="709613"/>
                      <a:pt x="15712" y="709613"/>
                      <a:pt x="611351" y="709613"/>
                    </a:cubicBezTo>
                    <a:cubicBezTo>
                      <a:pt x="620635" y="709613"/>
                      <a:pt x="627063" y="716829"/>
                      <a:pt x="627063" y="725488"/>
                    </a:cubicBezTo>
                    <a:cubicBezTo>
                      <a:pt x="627063" y="734147"/>
                      <a:pt x="620635" y="741363"/>
                      <a:pt x="611351" y="741363"/>
                    </a:cubicBezTo>
                    <a:cubicBezTo>
                      <a:pt x="611351" y="741363"/>
                      <a:pt x="611351" y="741363"/>
                      <a:pt x="15712" y="741363"/>
                    </a:cubicBezTo>
                    <a:cubicBezTo>
                      <a:pt x="6428" y="741363"/>
                      <a:pt x="0" y="734147"/>
                      <a:pt x="0" y="725488"/>
                    </a:cubicBezTo>
                    <a:cubicBezTo>
                      <a:pt x="0" y="716829"/>
                      <a:pt x="6428" y="709613"/>
                      <a:pt x="15712" y="709613"/>
                    </a:cubicBezTo>
                    <a:close/>
                    <a:moveTo>
                      <a:pt x="15712" y="593725"/>
                    </a:moveTo>
                    <a:cubicBezTo>
                      <a:pt x="15712" y="593725"/>
                      <a:pt x="15712" y="593725"/>
                      <a:pt x="611351" y="593725"/>
                    </a:cubicBezTo>
                    <a:cubicBezTo>
                      <a:pt x="620635" y="593725"/>
                      <a:pt x="627063" y="600941"/>
                      <a:pt x="627063" y="609600"/>
                    </a:cubicBezTo>
                    <a:cubicBezTo>
                      <a:pt x="627063" y="618259"/>
                      <a:pt x="620635" y="625475"/>
                      <a:pt x="611351" y="625475"/>
                    </a:cubicBezTo>
                    <a:cubicBezTo>
                      <a:pt x="611351" y="625475"/>
                      <a:pt x="611351" y="625475"/>
                      <a:pt x="15712" y="625475"/>
                    </a:cubicBezTo>
                    <a:cubicBezTo>
                      <a:pt x="6428" y="625475"/>
                      <a:pt x="0" y="618259"/>
                      <a:pt x="0" y="609600"/>
                    </a:cubicBezTo>
                    <a:cubicBezTo>
                      <a:pt x="0" y="600941"/>
                      <a:pt x="6428" y="593725"/>
                      <a:pt x="15712" y="593725"/>
                    </a:cubicBezTo>
                    <a:close/>
                    <a:moveTo>
                      <a:pt x="15712" y="477838"/>
                    </a:moveTo>
                    <a:cubicBezTo>
                      <a:pt x="15712" y="477838"/>
                      <a:pt x="15712" y="477838"/>
                      <a:pt x="611351" y="477838"/>
                    </a:cubicBezTo>
                    <a:cubicBezTo>
                      <a:pt x="620635" y="477838"/>
                      <a:pt x="627063" y="484332"/>
                      <a:pt x="627063" y="493713"/>
                    </a:cubicBezTo>
                    <a:cubicBezTo>
                      <a:pt x="627063" y="502372"/>
                      <a:pt x="620635" y="509588"/>
                      <a:pt x="611351" y="509588"/>
                    </a:cubicBezTo>
                    <a:cubicBezTo>
                      <a:pt x="611351" y="509588"/>
                      <a:pt x="611351" y="509588"/>
                      <a:pt x="15712" y="509588"/>
                    </a:cubicBezTo>
                    <a:cubicBezTo>
                      <a:pt x="6428" y="509588"/>
                      <a:pt x="0" y="502372"/>
                      <a:pt x="0" y="493713"/>
                    </a:cubicBezTo>
                    <a:cubicBezTo>
                      <a:pt x="0" y="484332"/>
                      <a:pt x="6428" y="477838"/>
                      <a:pt x="15712" y="477838"/>
                    </a:cubicBezTo>
                    <a:close/>
                    <a:moveTo>
                      <a:pt x="15712" y="361950"/>
                    </a:moveTo>
                    <a:cubicBezTo>
                      <a:pt x="15712" y="361950"/>
                      <a:pt x="15712" y="361950"/>
                      <a:pt x="611351" y="361950"/>
                    </a:cubicBezTo>
                    <a:cubicBezTo>
                      <a:pt x="620635" y="361950"/>
                      <a:pt x="627063" y="369166"/>
                      <a:pt x="627063" y="377825"/>
                    </a:cubicBezTo>
                    <a:cubicBezTo>
                      <a:pt x="627063" y="386484"/>
                      <a:pt x="620635" y="393700"/>
                      <a:pt x="611351" y="393700"/>
                    </a:cubicBezTo>
                    <a:cubicBezTo>
                      <a:pt x="611351" y="393700"/>
                      <a:pt x="611351" y="393700"/>
                      <a:pt x="15712" y="393700"/>
                    </a:cubicBezTo>
                    <a:cubicBezTo>
                      <a:pt x="6428" y="393700"/>
                      <a:pt x="0" y="386484"/>
                      <a:pt x="0" y="377825"/>
                    </a:cubicBezTo>
                    <a:cubicBezTo>
                      <a:pt x="0" y="369166"/>
                      <a:pt x="6428" y="361950"/>
                      <a:pt x="15712" y="361950"/>
                    </a:cubicBezTo>
                    <a:close/>
                    <a:moveTo>
                      <a:pt x="312738" y="31750"/>
                    </a:moveTo>
                    <a:cubicBezTo>
                      <a:pt x="304902" y="31750"/>
                      <a:pt x="297779" y="33176"/>
                      <a:pt x="290655" y="35314"/>
                    </a:cubicBezTo>
                    <a:cubicBezTo>
                      <a:pt x="276408" y="41016"/>
                      <a:pt x="264299" y="52420"/>
                      <a:pt x="257175" y="66675"/>
                    </a:cubicBezTo>
                    <a:cubicBezTo>
                      <a:pt x="257175" y="66675"/>
                      <a:pt x="257175" y="66675"/>
                      <a:pt x="368300" y="66675"/>
                    </a:cubicBezTo>
                    <a:cubicBezTo>
                      <a:pt x="361177" y="52420"/>
                      <a:pt x="349067" y="41016"/>
                      <a:pt x="334820" y="35314"/>
                    </a:cubicBezTo>
                    <a:cubicBezTo>
                      <a:pt x="327697" y="33176"/>
                      <a:pt x="320573" y="31750"/>
                      <a:pt x="312738" y="31750"/>
                    </a:cubicBezTo>
                    <a:close/>
                    <a:moveTo>
                      <a:pt x="312737" y="0"/>
                    </a:moveTo>
                    <a:cubicBezTo>
                      <a:pt x="342090" y="0"/>
                      <a:pt x="368580" y="13529"/>
                      <a:pt x="385762" y="34890"/>
                    </a:cubicBezTo>
                    <a:cubicBezTo>
                      <a:pt x="392922" y="44147"/>
                      <a:pt x="398649" y="54827"/>
                      <a:pt x="402229" y="66220"/>
                    </a:cubicBezTo>
                    <a:cubicBezTo>
                      <a:pt x="402229" y="66220"/>
                      <a:pt x="402229" y="66220"/>
                      <a:pt x="451628" y="66220"/>
                    </a:cubicBezTo>
                    <a:cubicBezTo>
                      <a:pt x="455208" y="66220"/>
                      <a:pt x="458787" y="69068"/>
                      <a:pt x="458787" y="73340"/>
                    </a:cubicBezTo>
                    <a:cubicBezTo>
                      <a:pt x="458787" y="73340"/>
                      <a:pt x="458787" y="73340"/>
                      <a:pt x="458787" y="113927"/>
                    </a:cubicBezTo>
                    <a:cubicBezTo>
                      <a:pt x="458787" y="113927"/>
                      <a:pt x="458787" y="113927"/>
                      <a:pt x="458787" y="145256"/>
                    </a:cubicBezTo>
                    <a:cubicBezTo>
                      <a:pt x="458787" y="145256"/>
                      <a:pt x="458787" y="145256"/>
                      <a:pt x="458787" y="178010"/>
                    </a:cubicBezTo>
                    <a:cubicBezTo>
                      <a:pt x="458787" y="186555"/>
                      <a:pt x="451628" y="193675"/>
                      <a:pt x="443037" y="193675"/>
                    </a:cubicBezTo>
                    <a:cubicBezTo>
                      <a:pt x="443037" y="193675"/>
                      <a:pt x="443037" y="193675"/>
                      <a:pt x="182438" y="193675"/>
                    </a:cubicBezTo>
                    <a:cubicBezTo>
                      <a:pt x="173847" y="193675"/>
                      <a:pt x="166687" y="186555"/>
                      <a:pt x="166687" y="178010"/>
                    </a:cubicBezTo>
                    <a:cubicBezTo>
                      <a:pt x="166687" y="178010"/>
                      <a:pt x="166687" y="178010"/>
                      <a:pt x="166687" y="145256"/>
                    </a:cubicBezTo>
                    <a:cubicBezTo>
                      <a:pt x="166687" y="145256"/>
                      <a:pt x="166687" y="145256"/>
                      <a:pt x="166687" y="113927"/>
                    </a:cubicBezTo>
                    <a:cubicBezTo>
                      <a:pt x="166687" y="113927"/>
                      <a:pt x="166687" y="113927"/>
                      <a:pt x="166687" y="73340"/>
                    </a:cubicBezTo>
                    <a:cubicBezTo>
                      <a:pt x="166687" y="69068"/>
                      <a:pt x="170267" y="66220"/>
                      <a:pt x="173847" y="66220"/>
                    </a:cubicBezTo>
                    <a:cubicBezTo>
                      <a:pt x="173847" y="66220"/>
                      <a:pt x="173847" y="66220"/>
                      <a:pt x="223246" y="66220"/>
                    </a:cubicBezTo>
                    <a:cubicBezTo>
                      <a:pt x="226825" y="54827"/>
                      <a:pt x="232553" y="44147"/>
                      <a:pt x="239712" y="34890"/>
                    </a:cubicBezTo>
                    <a:cubicBezTo>
                      <a:pt x="256895" y="13529"/>
                      <a:pt x="283384" y="0"/>
                      <a:pt x="312737" y="0"/>
                    </a:cubicBezTo>
                    <a:close/>
                  </a:path>
                </a:pathLst>
              </a:custGeom>
              <a:solidFill>
                <a:srgbClr val="122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spTree>
    <p:extLst>
      <p:ext uri="{BB962C8B-B14F-4D97-AF65-F5344CB8AC3E}">
        <p14:creationId xmlns:p14="http://schemas.microsoft.com/office/powerpoint/2010/main" val="3833992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78"/>
                                        </p:tgtEl>
                                        <p:attrNameLst>
                                          <p:attrName>style.visibility</p:attrName>
                                        </p:attrNameLst>
                                      </p:cBhvr>
                                      <p:to>
                                        <p:strVal val="visible"/>
                                      </p:to>
                                    </p:set>
                                    <p:animEffect transition="in" filter="dissolve">
                                      <p:cBhvr>
                                        <p:cTn id="12"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7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4419" name="think-cell Slide" r:id="rId11" imgW="286" imgH="286" progId="TCLayout.ActiveDocument.1">
                  <p:embed/>
                </p:oleObj>
              </mc:Choice>
              <mc:Fallback>
                <p:oleObj name="think-cell Slide" r:id="rId11" imgW="286" imgH="286" progId="TCLayout.ActiveDocument.1">
                  <p:embed/>
                  <p:pic>
                    <p:nvPicPr>
                      <p:cNvPr id="2" name="Object 1"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59CF42-E090-4528-81B5-26082596BF68}"/>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Open Sans Semibold" panose="020B0706030804020204" pitchFamily="34" charset="0"/>
              <a:ea typeface="+mj-ea"/>
              <a:cs typeface="+mj-cs"/>
              <a:sym typeface="Open Sans Semibold" panose="020B0706030804020204" pitchFamily="34" charset="0"/>
            </a:endParaRPr>
          </a:p>
        </p:txBody>
      </p:sp>
      <p:sp>
        <p:nvSpPr>
          <p:cNvPr id="9" name="Rectangle 8">
            <a:extLst>
              <a:ext uri="{FF2B5EF4-FFF2-40B4-BE49-F238E27FC236}">
                <a16:creationId xmlns:a16="http://schemas.microsoft.com/office/drawing/2014/main" id="{616F17F0-59A7-4DCF-870D-26CE98185D2E}"/>
              </a:ext>
            </a:extLst>
          </p:cNvPr>
          <p:cNvSpPr/>
          <p:nvPr/>
        </p:nvSpPr>
        <p:spPr>
          <a:xfrm>
            <a:off x="9106695" y="677923"/>
            <a:ext cx="2854615" cy="849820"/>
          </a:xfrm>
          <a:prstGeom prst="rect">
            <a:avLst/>
          </a:prstGeom>
          <a:noFill/>
          <a:ln w="952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rgbClr val="12284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Rectangle 50" hidden="1">
            <a:extLst>
              <a:ext uri="{FF2B5EF4-FFF2-40B4-BE49-F238E27FC236}">
                <a16:creationId xmlns:a16="http://schemas.microsoft.com/office/drawing/2014/main" id="{E617311F-2BA8-4B20-BAB6-ABD313A083D2}"/>
              </a:ext>
            </a:extLst>
          </p:cNvPr>
          <p:cNvSpPr/>
          <p:nvPr>
            <p:custDataLst>
              <p:tags r:id="rId4"/>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Open Sans Semibold" panose="020B0706030804020204" pitchFamily="34" charset="0"/>
              <a:ea typeface="+mj-ea"/>
              <a:cs typeface="+mj-cs"/>
              <a:sym typeface="Open Sans Semibold" panose="020B0706030804020204" pitchFamily="34" charset="0"/>
            </a:endParaRPr>
          </a:p>
        </p:txBody>
      </p:sp>
      <p:sp>
        <p:nvSpPr>
          <p:cNvPr id="5" name="Title 4">
            <a:extLst>
              <a:ext uri="{FF2B5EF4-FFF2-40B4-BE49-F238E27FC236}">
                <a16:creationId xmlns:a16="http://schemas.microsoft.com/office/drawing/2014/main" id="{0348B7DA-8E02-4880-8EE8-5BBB26F8890D}"/>
              </a:ext>
            </a:extLst>
          </p:cNvPr>
          <p:cNvSpPr>
            <a:spLocks noGrp="1"/>
          </p:cNvSpPr>
          <p:nvPr>
            <p:ph type="title"/>
          </p:nvPr>
        </p:nvSpPr>
        <p:spPr>
          <a:xfrm>
            <a:off x="630001" y="437836"/>
            <a:ext cx="8555944" cy="941796"/>
          </a:xfrm>
        </p:spPr>
        <p:txBody>
          <a:bodyPr/>
          <a:lstStyle/>
          <a:p>
            <a:r>
              <a:rPr lang="en-US" sz="3400" dirty="0"/>
              <a:t>ESSER II has multiple components; $370M in total allocated to Kansas </a:t>
            </a:r>
          </a:p>
        </p:txBody>
      </p:sp>
      <p:graphicFrame>
        <p:nvGraphicFramePr>
          <p:cNvPr id="65" name="Chart 64">
            <a:extLst>
              <a:ext uri="{FF2B5EF4-FFF2-40B4-BE49-F238E27FC236}">
                <a16:creationId xmlns:a16="http://schemas.microsoft.com/office/drawing/2014/main" id="{904E6C94-8271-4F87-9BBC-7094F798C9EB}"/>
              </a:ext>
            </a:extLst>
          </p:cNvPr>
          <p:cNvGraphicFramePr/>
          <p:nvPr>
            <p:custDataLst>
              <p:tags r:id="rId5"/>
            </p:custDataLst>
          </p:nvPr>
        </p:nvGraphicFramePr>
        <p:xfrm>
          <a:off x="1001713" y="1863725"/>
          <a:ext cx="3708400" cy="3708400"/>
        </p:xfrm>
        <a:graphic>
          <a:graphicData uri="http://schemas.openxmlformats.org/drawingml/2006/chart">
            <c:chart xmlns:c="http://schemas.openxmlformats.org/drawingml/2006/chart" xmlns:r="http://schemas.openxmlformats.org/officeDocument/2006/relationships" r:id="rId13"/>
          </a:graphicData>
        </a:graphic>
      </p:graphicFrame>
      <p:sp>
        <p:nvSpPr>
          <p:cNvPr id="33" name="Text Placeholder 3">
            <a:extLst>
              <a:ext uri="{FF2B5EF4-FFF2-40B4-BE49-F238E27FC236}">
                <a16:creationId xmlns:a16="http://schemas.microsoft.com/office/drawing/2014/main" id="{93C99125-00EE-4579-9F6D-1CB762A37D18}"/>
              </a:ext>
            </a:extLst>
          </p:cNvPr>
          <p:cNvSpPr>
            <a:spLocks noGrp="1"/>
          </p:cNvSpPr>
          <p:nvPr>
            <p:custDataLst>
              <p:tags r:id="rId6"/>
            </p:custDataLst>
          </p:nvPr>
        </p:nvSpPr>
        <p:spPr bwMode="gray">
          <a:xfrm>
            <a:off x="2478088" y="1995488"/>
            <a:ext cx="336550" cy="268288"/>
          </a:xfrm>
          <a:prstGeom prst="rect">
            <a:avLst/>
          </a:prstGeom>
          <a:solidFill>
            <a:srgbClr val="01B096"/>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fld id="{75862647-FE5E-4EAF-97B3-E7E09D01792A}" type="datetime'''''''''3.''''''''''''1'''''''''''''''''">
              <a:rPr lang="en-US" altLang="en-US" sz="1600" smtClean="0">
                <a:solidFill>
                  <a:schemeClr val="bg1"/>
                </a:solidFill>
              </a:rPr>
              <a:pPr/>
              <a:t>3.1</a:t>
            </a:fld>
            <a:endParaRPr lang="en-US" sz="1600" dirty="0">
              <a:solidFill>
                <a:schemeClr val="bg1"/>
              </a:solidFill>
              <a:sym typeface="+mn-lt"/>
            </a:endParaRPr>
          </a:p>
        </p:txBody>
      </p:sp>
      <p:sp>
        <p:nvSpPr>
          <p:cNvPr id="21" name="Text Placeholder 3">
            <a:extLst>
              <a:ext uri="{FF2B5EF4-FFF2-40B4-BE49-F238E27FC236}">
                <a16:creationId xmlns:a16="http://schemas.microsoft.com/office/drawing/2014/main" id="{B6BAA4CB-E5F1-4F6B-950E-B92FCA6F3E41}"/>
              </a:ext>
            </a:extLst>
          </p:cNvPr>
          <p:cNvSpPr>
            <a:spLocks noGrp="1"/>
          </p:cNvSpPr>
          <p:nvPr>
            <p:custDataLst>
              <p:tags r:id="rId7"/>
            </p:custDataLst>
          </p:nvPr>
        </p:nvSpPr>
        <p:spPr bwMode="gray">
          <a:xfrm>
            <a:off x="2644775" y="2263775"/>
            <a:ext cx="336550" cy="268288"/>
          </a:xfrm>
          <a:prstGeom prst="rect">
            <a:avLst/>
          </a:prstGeom>
          <a:solidFill>
            <a:srgbClr val="88A4C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fld id="{B86D2F2F-B026-43B1-9FC8-19E0FF3EC1EC}" type="datetime'''''''''''''''0''''''''''.''''''0'''''''''''''''''''''''''''''">
              <a:rPr lang="en-US" altLang="en-US" sz="1600" smtClean="0">
                <a:solidFill>
                  <a:schemeClr val="bg1"/>
                </a:solidFill>
              </a:rPr>
              <a:pPr/>
              <a:t>0.0</a:t>
            </a:fld>
            <a:endParaRPr lang="en-US" sz="1600" dirty="0">
              <a:solidFill>
                <a:schemeClr val="bg1"/>
              </a:solidFill>
              <a:sym typeface="+mn-lt"/>
            </a:endParaRPr>
          </a:p>
        </p:txBody>
      </p:sp>
      <p:sp>
        <p:nvSpPr>
          <p:cNvPr id="38" name="Text Placeholder 3">
            <a:extLst>
              <a:ext uri="{FF2B5EF4-FFF2-40B4-BE49-F238E27FC236}">
                <a16:creationId xmlns:a16="http://schemas.microsoft.com/office/drawing/2014/main" id="{18446FA3-1E9A-4955-9F59-DB4BA96560EA}"/>
              </a:ext>
            </a:extLst>
          </p:cNvPr>
          <p:cNvSpPr>
            <a:spLocks noGrp="1"/>
          </p:cNvSpPr>
          <p:nvPr>
            <p:custDataLst>
              <p:tags r:id="rId8"/>
            </p:custDataLst>
          </p:nvPr>
        </p:nvSpPr>
        <p:spPr bwMode="gray">
          <a:xfrm>
            <a:off x="2671763" y="2532063"/>
            <a:ext cx="336550" cy="268288"/>
          </a:xfrm>
          <a:prstGeom prst="rect">
            <a:avLst/>
          </a:prstGeom>
          <a:solidFill>
            <a:srgbClr val="9A9A9A"/>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fld id="{E46C8B0A-F884-4DC5-8AE1-DEF7F1B9570F}" type="datetime'''''0.''''''''''''''''5'''''''''''''''''''''''''''''''''">
              <a:rPr lang="en-US" altLang="en-US" sz="1600" smtClean="0">
                <a:solidFill>
                  <a:schemeClr val="bg1"/>
                </a:solidFill>
              </a:rPr>
              <a:pPr/>
              <a:t>0.5</a:t>
            </a:fld>
            <a:endParaRPr lang="en-US" sz="1600" dirty="0">
              <a:solidFill>
                <a:schemeClr val="bg1"/>
              </a:solidFill>
              <a:sym typeface="+mn-lt"/>
            </a:endParaRPr>
          </a:p>
        </p:txBody>
      </p:sp>
      <p:sp>
        <p:nvSpPr>
          <p:cNvPr id="39" name="Rectangle 38">
            <a:extLst>
              <a:ext uri="{FF2B5EF4-FFF2-40B4-BE49-F238E27FC236}">
                <a16:creationId xmlns:a16="http://schemas.microsoft.com/office/drawing/2014/main" id="{AA62B273-6FC0-4834-868A-1982B8DAE53F}"/>
              </a:ext>
            </a:extLst>
          </p:cNvPr>
          <p:cNvSpPr/>
          <p:nvPr/>
        </p:nvSpPr>
        <p:spPr>
          <a:xfrm>
            <a:off x="6434508" y="2384431"/>
            <a:ext cx="3915046" cy="954107"/>
          </a:xfrm>
          <a:prstGeom prst="rect">
            <a:avLst/>
          </a:prstGeom>
        </p:spPr>
        <p:txBody>
          <a:bodyPr wrap="none">
            <a:spAutoFit/>
          </a:bodyPr>
          <a:lstStyle/>
          <a:p>
            <a:r>
              <a:rPr lang="en-US" altLang="en-US" sz="2000" b="1" dirty="0">
                <a:solidFill>
                  <a:srgbClr val="FFA400"/>
                </a:solidFill>
              </a:rPr>
              <a:t>LEA "True up"</a:t>
            </a:r>
          </a:p>
          <a:p>
            <a:r>
              <a:rPr lang="en-US" dirty="0">
                <a:solidFill>
                  <a:srgbClr val="FFA400"/>
                </a:solidFill>
              </a:rPr>
              <a:t>Ensures all districts receive at least</a:t>
            </a:r>
            <a:br>
              <a:rPr lang="en-US" dirty="0">
                <a:solidFill>
                  <a:srgbClr val="FFA400"/>
                </a:solidFill>
              </a:rPr>
            </a:br>
            <a:r>
              <a:rPr lang="en-US" dirty="0">
                <a:solidFill>
                  <a:srgbClr val="FFA400"/>
                </a:solidFill>
              </a:rPr>
              <a:t>$300 per student</a:t>
            </a:r>
          </a:p>
        </p:txBody>
      </p:sp>
      <p:sp>
        <p:nvSpPr>
          <p:cNvPr id="34" name="Rectangle 33">
            <a:extLst>
              <a:ext uri="{FF2B5EF4-FFF2-40B4-BE49-F238E27FC236}">
                <a16:creationId xmlns:a16="http://schemas.microsoft.com/office/drawing/2014/main" id="{141AC14D-33E9-40E0-844C-9CC0D1A49367}"/>
              </a:ext>
            </a:extLst>
          </p:cNvPr>
          <p:cNvSpPr/>
          <p:nvPr/>
        </p:nvSpPr>
        <p:spPr>
          <a:xfrm>
            <a:off x="10422493" y="2661429"/>
            <a:ext cx="1067921" cy="400110"/>
          </a:xfrm>
          <a:prstGeom prst="rect">
            <a:avLst/>
          </a:prstGeom>
        </p:spPr>
        <p:txBody>
          <a:bodyPr wrap="none">
            <a:spAutoFit/>
          </a:bodyPr>
          <a:lstStyle/>
          <a:p>
            <a:r>
              <a:rPr lang="en-US" sz="2000" dirty="0">
                <a:solidFill>
                  <a:srgbClr val="FFA400"/>
                </a:solidFill>
                <a:latin typeface="+mj-lt"/>
              </a:rPr>
              <a:t>$11.5M</a:t>
            </a:r>
          </a:p>
        </p:txBody>
      </p:sp>
      <p:sp>
        <p:nvSpPr>
          <p:cNvPr id="41" name="Rectangle 40">
            <a:extLst>
              <a:ext uri="{FF2B5EF4-FFF2-40B4-BE49-F238E27FC236}">
                <a16:creationId xmlns:a16="http://schemas.microsoft.com/office/drawing/2014/main" id="{068F08FB-21E6-4B0B-ADF5-DDCD6CE9CB62}"/>
              </a:ext>
            </a:extLst>
          </p:cNvPr>
          <p:cNvSpPr/>
          <p:nvPr/>
        </p:nvSpPr>
        <p:spPr>
          <a:xfrm>
            <a:off x="6434510" y="1591787"/>
            <a:ext cx="3648948" cy="677108"/>
          </a:xfrm>
          <a:prstGeom prst="rect">
            <a:avLst/>
          </a:prstGeom>
        </p:spPr>
        <p:txBody>
          <a:bodyPr wrap="none">
            <a:spAutoFit/>
          </a:bodyPr>
          <a:lstStyle/>
          <a:p>
            <a:fld id="{D80ACECE-4BE9-4030-B8ED-F9BC6301D880}" type="datetime'''''''''M''i''''''nimum LEA d''''is''''t''rib''utio''''n'''''">
              <a:rPr lang="en-US" altLang="en-US" sz="2000" b="1" smtClean="0">
                <a:solidFill>
                  <a:srgbClr val="12284C"/>
                </a:solidFill>
              </a:rPr>
              <a:pPr/>
              <a:t>Minimum LEA distribution</a:t>
            </a:fld>
            <a:endParaRPr lang="en-US" altLang="en-US" sz="2000" b="1" dirty="0">
              <a:solidFill>
                <a:srgbClr val="12284C"/>
              </a:solidFill>
            </a:endParaRPr>
          </a:p>
          <a:p>
            <a:r>
              <a:rPr lang="en-US" dirty="0">
                <a:solidFill>
                  <a:srgbClr val="12284C"/>
                </a:solidFill>
              </a:rPr>
              <a:t>Allocated through Title I formula</a:t>
            </a:r>
          </a:p>
        </p:txBody>
      </p:sp>
      <p:sp>
        <p:nvSpPr>
          <p:cNvPr id="32" name="Rectangle 31">
            <a:extLst>
              <a:ext uri="{FF2B5EF4-FFF2-40B4-BE49-F238E27FC236}">
                <a16:creationId xmlns:a16="http://schemas.microsoft.com/office/drawing/2014/main" id="{D45C28D7-2382-477F-9E81-1E5644D7401C}"/>
              </a:ext>
            </a:extLst>
          </p:cNvPr>
          <p:cNvSpPr/>
          <p:nvPr/>
        </p:nvSpPr>
        <p:spPr>
          <a:xfrm>
            <a:off x="10349556" y="1730286"/>
            <a:ext cx="1213794" cy="400110"/>
          </a:xfrm>
          <a:prstGeom prst="rect">
            <a:avLst/>
          </a:prstGeom>
        </p:spPr>
        <p:txBody>
          <a:bodyPr wrap="none">
            <a:spAutoFit/>
          </a:bodyPr>
          <a:lstStyle/>
          <a:p>
            <a:r>
              <a:rPr lang="en-US" sz="2000" dirty="0">
                <a:solidFill>
                  <a:srgbClr val="12284C"/>
                </a:solidFill>
                <a:latin typeface="+mj-lt"/>
              </a:rPr>
              <a:t>$332.8M</a:t>
            </a:r>
          </a:p>
        </p:txBody>
      </p:sp>
      <p:sp>
        <p:nvSpPr>
          <p:cNvPr id="40" name="TextBox 39">
            <a:extLst>
              <a:ext uri="{FF2B5EF4-FFF2-40B4-BE49-F238E27FC236}">
                <a16:creationId xmlns:a16="http://schemas.microsoft.com/office/drawing/2014/main" id="{AE1AE405-8FDA-4813-A880-F8508D8B7824}"/>
              </a:ext>
            </a:extLst>
          </p:cNvPr>
          <p:cNvSpPr txBox="1"/>
          <p:nvPr/>
        </p:nvSpPr>
        <p:spPr>
          <a:xfrm>
            <a:off x="2130548" y="3427412"/>
            <a:ext cx="1450730" cy="581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b="1" dirty="0">
                <a:solidFill>
                  <a:srgbClr val="12284C"/>
                </a:solidFill>
              </a:rPr>
              <a:t>ESSER II</a:t>
            </a:r>
          </a:p>
          <a:p>
            <a:pPr algn="ctr"/>
            <a:r>
              <a:rPr lang="en-US" sz="2400" b="1" dirty="0">
                <a:solidFill>
                  <a:srgbClr val="12284C"/>
                </a:solidFill>
              </a:rPr>
              <a:t>$369.8M</a:t>
            </a:r>
          </a:p>
        </p:txBody>
      </p:sp>
      <p:sp>
        <p:nvSpPr>
          <p:cNvPr id="46" name="Rectangle 45">
            <a:extLst>
              <a:ext uri="{FF2B5EF4-FFF2-40B4-BE49-F238E27FC236}">
                <a16:creationId xmlns:a16="http://schemas.microsoft.com/office/drawing/2014/main" id="{9F05C7A3-E687-4FAA-9C41-9E5A87B5F477}"/>
              </a:ext>
            </a:extLst>
          </p:cNvPr>
          <p:cNvSpPr/>
          <p:nvPr/>
        </p:nvSpPr>
        <p:spPr>
          <a:xfrm>
            <a:off x="6434509" y="3498034"/>
            <a:ext cx="3915046" cy="954107"/>
          </a:xfrm>
          <a:prstGeom prst="rect">
            <a:avLst/>
          </a:prstGeom>
        </p:spPr>
        <p:txBody>
          <a:bodyPr wrap="square">
            <a:spAutoFit/>
          </a:bodyPr>
          <a:lstStyle/>
          <a:p>
            <a:r>
              <a:rPr lang="en-US" altLang="en-US" sz="2000" b="1" dirty="0">
                <a:solidFill>
                  <a:srgbClr val="07B597"/>
                </a:solidFill>
              </a:rPr>
              <a:t>Special Education</a:t>
            </a:r>
          </a:p>
          <a:p>
            <a:r>
              <a:rPr lang="en-US" dirty="0">
                <a:solidFill>
                  <a:srgbClr val="07B597"/>
                </a:solidFill>
              </a:rPr>
              <a:t>Additional set-aside for LEAs split across 2021-22 and 2022-23</a:t>
            </a:r>
          </a:p>
        </p:txBody>
      </p:sp>
      <p:sp>
        <p:nvSpPr>
          <p:cNvPr id="35" name="Rectangle 34">
            <a:extLst>
              <a:ext uri="{FF2B5EF4-FFF2-40B4-BE49-F238E27FC236}">
                <a16:creationId xmlns:a16="http://schemas.microsoft.com/office/drawing/2014/main" id="{AFD84F6B-8249-4E33-A7BE-389A2907918D}"/>
              </a:ext>
            </a:extLst>
          </p:cNvPr>
          <p:cNvSpPr/>
          <p:nvPr/>
        </p:nvSpPr>
        <p:spPr>
          <a:xfrm>
            <a:off x="10526688" y="3775032"/>
            <a:ext cx="859531" cy="400110"/>
          </a:xfrm>
          <a:prstGeom prst="rect">
            <a:avLst/>
          </a:prstGeom>
        </p:spPr>
        <p:txBody>
          <a:bodyPr wrap="none">
            <a:spAutoFit/>
          </a:bodyPr>
          <a:lstStyle/>
          <a:p>
            <a:r>
              <a:rPr lang="en-US" sz="2000" dirty="0">
                <a:solidFill>
                  <a:srgbClr val="07B597"/>
                </a:solidFill>
                <a:latin typeface="+mj-lt"/>
              </a:rPr>
              <a:t>$24M</a:t>
            </a:r>
          </a:p>
        </p:txBody>
      </p:sp>
      <p:sp>
        <p:nvSpPr>
          <p:cNvPr id="47" name="Rectangle 46">
            <a:extLst>
              <a:ext uri="{FF2B5EF4-FFF2-40B4-BE49-F238E27FC236}">
                <a16:creationId xmlns:a16="http://schemas.microsoft.com/office/drawing/2014/main" id="{8B963846-BE59-4AD9-B9A9-894CD9F374D8}"/>
              </a:ext>
            </a:extLst>
          </p:cNvPr>
          <p:cNvSpPr/>
          <p:nvPr/>
        </p:nvSpPr>
        <p:spPr>
          <a:xfrm>
            <a:off x="6434509" y="4611637"/>
            <a:ext cx="3915046" cy="954107"/>
          </a:xfrm>
          <a:prstGeom prst="rect">
            <a:avLst/>
          </a:prstGeom>
        </p:spPr>
        <p:txBody>
          <a:bodyPr wrap="none">
            <a:spAutoFit/>
          </a:bodyPr>
          <a:lstStyle/>
          <a:p>
            <a:r>
              <a:rPr lang="en-US" altLang="en-US" sz="2000" b="1" dirty="0">
                <a:solidFill>
                  <a:srgbClr val="80AAC3"/>
                </a:solidFill>
              </a:rPr>
              <a:t>Schools for the Deaf &amp; Blind</a:t>
            </a:r>
          </a:p>
          <a:p>
            <a:r>
              <a:rPr lang="en-US" dirty="0">
                <a:solidFill>
                  <a:srgbClr val="80AAC3"/>
                </a:solidFill>
              </a:rPr>
              <a:t>Set-aside as schools do not receive</a:t>
            </a:r>
            <a:br>
              <a:rPr lang="en-US" dirty="0">
                <a:solidFill>
                  <a:srgbClr val="80AAC3"/>
                </a:solidFill>
              </a:rPr>
            </a:br>
            <a:r>
              <a:rPr lang="en-US" dirty="0">
                <a:solidFill>
                  <a:srgbClr val="80AAC3"/>
                </a:solidFill>
              </a:rPr>
              <a:t>funds through LEA distributions</a:t>
            </a:r>
          </a:p>
        </p:txBody>
      </p:sp>
      <p:sp>
        <p:nvSpPr>
          <p:cNvPr id="36" name="Rectangle 35">
            <a:extLst>
              <a:ext uri="{FF2B5EF4-FFF2-40B4-BE49-F238E27FC236}">
                <a16:creationId xmlns:a16="http://schemas.microsoft.com/office/drawing/2014/main" id="{9E862F4D-A15C-453A-AD40-A928276BE9A1}"/>
              </a:ext>
            </a:extLst>
          </p:cNvPr>
          <p:cNvSpPr/>
          <p:nvPr/>
        </p:nvSpPr>
        <p:spPr>
          <a:xfrm>
            <a:off x="10484711" y="4888636"/>
            <a:ext cx="938077" cy="400110"/>
          </a:xfrm>
          <a:prstGeom prst="rect">
            <a:avLst/>
          </a:prstGeom>
        </p:spPr>
        <p:txBody>
          <a:bodyPr wrap="none">
            <a:spAutoFit/>
          </a:bodyPr>
          <a:lstStyle/>
          <a:p>
            <a:r>
              <a:rPr lang="en-US" sz="2000" b="1" dirty="0">
                <a:solidFill>
                  <a:srgbClr val="80AAC3"/>
                </a:solidFill>
              </a:rPr>
              <a:t>$0.2M</a:t>
            </a:r>
          </a:p>
        </p:txBody>
      </p:sp>
      <p:sp>
        <p:nvSpPr>
          <p:cNvPr id="3" name="Rectangle 2">
            <a:extLst>
              <a:ext uri="{FF2B5EF4-FFF2-40B4-BE49-F238E27FC236}">
                <a16:creationId xmlns:a16="http://schemas.microsoft.com/office/drawing/2014/main" id="{0E832D41-0D07-4FE8-8B4E-303013365D99}"/>
              </a:ext>
            </a:extLst>
          </p:cNvPr>
          <p:cNvSpPr/>
          <p:nvPr/>
        </p:nvSpPr>
        <p:spPr>
          <a:xfrm>
            <a:off x="5143501" y="1591787"/>
            <a:ext cx="1195754" cy="65212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b="1" dirty="0">
                <a:solidFill>
                  <a:srgbClr val="54565A"/>
                </a:solidFill>
              </a:rPr>
              <a:t>Federally mandated</a:t>
            </a:r>
          </a:p>
        </p:txBody>
      </p:sp>
      <p:sp>
        <p:nvSpPr>
          <p:cNvPr id="37" name="Rectangle 36">
            <a:extLst>
              <a:ext uri="{FF2B5EF4-FFF2-40B4-BE49-F238E27FC236}">
                <a16:creationId xmlns:a16="http://schemas.microsoft.com/office/drawing/2014/main" id="{0E8FCA7D-2089-457E-9F3D-1DFCD5DFEC96}"/>
              </a:ext>
            </a:extLst>
          </p:cNvPr>
          <p:cNvSpPr/>
          <p:nvPr/>
        </p:nvSpPr>
        <p:spPr>
          <a:xfrm>
            <a:off x="5143501" y="2446293"/>
            <a:ext cx="1195754" cy="31194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b="1" dirty="0">
                <a:solidFill>
                  <a:srgbClr val="54565A"/>
                </a:solidFill>
              </a:rPr>
              <a:t>KSDE discretionary (9.5%)</a:t>
            </a:r>
          </a:p>
        </p:txBody>
      </p:sp>
      <p:sp>
        <p:nvSpPr>
          <p:cNvPr id="59" name="Rectangle 58">
            <a:extLst>
              <a:ext uri="{FF2B5EF4-FFF2-40B4-BE49-F238E27FC236}">
                <a16:creationId xmlns:a16="http://schemas.microsoft.com/office/drawing/2014/main" id="{65D90435-F324-4D91-9F0F-3940392AA6AB}"/>
              </a:ext>
            </a:extLst>
          </p:cNvPr>
          <p:cNvSpPr/>
          <p:nvPr/>
        </p:nvSpPr>
        <p:spPr>
          <a:xfrm>
            <a:off x="6434509" y="5769201"/>
            <a:ext cx="2460610" cy="400110"/>
          </a:xfrm>
          <a:prstGeom prst="rect">
            <a:avLst/>
          </a:prstGeom>
        </p:spPr>
        <p:txBody>
          <a:bodyPr wrap="none">
            <a:spAutoFit/>
          </a:bodyPr>
          <a:lstStyle/>
          <a:p>
            <a:r>
              <a:rPr lang="en-US" altLang="en-US" sz="2000" dirty="0">
                <a:solidFill>
                  <a:srgbClr val="A9AAAD"/>
                </a:solidFill>
              </a:rPr>
              <a:t>SEA Administration</a:t>
            </a:r>
            <a:endParaRPr lang="en-US" dirty="0">
              <a:solidFill>
                <a:srgbClr val="A9AAAD"/>
              </a:solidFill>
            </a:endParaRPr>
          </a:p>
        </p:txBody>
      </p:sp>
      <p:sp>
        <p:nvSpPr>
          <p:cNvPr id="60" name="Rectangle 59">
            <a:extLst>
              <a:ext uri="{FF2B5EF4-FFF2-40B4-BE49-F238E27FC236}">
                <a16:creationId xmlns:a16="http://schemas.microsoft.com/office/drawing/2014/main" id="{07A84BAA-B8D5-42BE-B267-699F6475D822}"/>
              </a:ext>
            </a:extLst>
          </p:cNvPr>
          <p:cNvSpPr/>
          <p:nvPr/>
        </p:nvSpPr>
        <p:spPr>
          <a:xfrm>
            <a:off x="10484711" y="5769201"/>
            <a:ext cx="938077" cy="400110"/>
          </a:xfrm>
          <a:prstGeom prst="rect">
            <a:avLst/>
          </a:prstGeom>
        </p:spPr>
        <p:txBody>
          <a:bodyPr wrap="none">
            <a:spAutoFit/>
          </a:bodyPr>
          <a:lstStyle/>
          <a:p>
            <a:r>
              <a:rPr lang="en-US" sz="2000" dirty="0">
                <a:solidFill>
                  <a:srgbClr val="A9AAAD"/>
                </a:solidFill>
              </a:rPr>
              <a:t>$1.8M</a:t>
            </a:r>
          </a:p>
        </p:txBody>
      </p:sp>
      <p:sp>
        <p:nvSpPr>
          <p:cNvPr id="61" name="Rectangle 60">
            <a:extLst>
              <a:ext uri="{FF2B5EF4-FFF2-40B4-BE49-F238E27FC236}">
                <a16:creationId xmlns:a16="http://schemas.microsoft.com/office/drawing/2014/main" id="{78918064-43EE-4E4D-8C7F-D88AEE2E31EB}"/>
              </a:ext>
            </a:extLst>
          </p:cNvPr>
          <p:cNvSpPr/>
          <p:nvPr/>
        </p:nvSpPr>
        <p:spPr>
          <a:xfrm>
            <a:off x="4946650" y="5643193"/>
            <a:ext cx="1392605" cy="65212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b="1" dirty="0">
                <a:solidFill>
                  <a:srgbClr val="54565A"/>
                </a:solidFill>
              </a:rPr>
              <a:t>KSDE Administration (0.5%)</a:t>
            </a:r>
          </a:p>
        </p:txBody>
      </p:sp>
      <p:cxnSp>
        <p:nvCxnSpPr>
          <p:cNvPr id="8" name="Straight Connector 7">
            <a:extLst>
              <a:ext uri="{FF2B5EF4-FFF2-40B4-BE49-F238E27FC236}">
                <a16:creationId xmlns:a16="http://schemas.microsoft.com/office/drawing/2014/main" id="{84A61399-61CE-4773-85A5-6EA4EC137BFB}"/>
              </a:ext>
            </a:extLst>
          </p:cNvPr>
          <p:cNvCxnSpPr/>
          <p:nvPr/>
        </p:nvCxnSpPr>
        <p:spPr>
          <a:xfrm>
            <a:off x="6339255" y="1689250"/>
            <a:ext cx="0" cy="45720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6E2073D-BACE-4C01-B5E1-162D6E8F9914}"/>
              </a:ext>
            </a:extLst>
          </p:cNvPr>
          <p:cNvCxnSpPr>
            <a:cxnSpLocks/>
          </p:cNvCxnSpPr>
          <p:nvPr/>
        </p:nvCxnSpPr>
        <p:spPr>
          <a:xfrm>
            <a:off x="6339255" y="2533195"/>
            <a:ext cx="0" cy="2945647"/>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6F8C67B-058B-45A1-9AE9-6F85B5132435}"/>
              </a:ext>
            </a:extLst>
          </p:cNvPr>
          <p:cNvCxnSpPr/>
          <p:nvPr/>
        </p:nvCxnSpPr>
        <p:spPr>
          <a:xfrm>
            <a:off x="6339255" y="5643193"/>
            <a:ext cx="0" cy="652126"/>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ED86514-C1FC-4A17-8697-E7867CDD9959}"/>
              </a:ext>
            </a:extLst>
          </p:cNvPr>
          <p:cNvCxnSpPr/>
          <p:nvPr/>
        </p:nvCxnSpPr>
        <p:spPr>
          <a:xfrm>
            <a:off x="4973637" y="5583328"/>
            <a:ext cx="6588363"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5013028-FAB0-4C9B-81B8-6CA12C087075}"/>
              </a:ext>
            </a:extLst>
          </p:cNvPr>
          <p:cNvCxnSpPr/>
          <p:nvPr/>
        </p:nvCxnSpPr>
        <p:spPr>
          <a:xfrm>
            <a:off x="4973637" y="2357541"/>
            <a:ext cx="6588363"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52EE09DE-B371-4C45-8321-AA9C67A1D6BF}"/>
              </a:ext>
            </a:extLst>
          </p:cNvPr>
          <p:cNvGrpSpPr>
            <a:grpSpLocks noChangeAspect="1"/>
          </p:cNvGrpSpPr>
          <p:nvPr/>
        </p:nvGrpSpPr>
        <p:grpSpPr>
          <a:xfrm>
            <a:off x="11654400" y="1764395"/>
            <a:ext cx="306910" cy="306910"/>
            <a:chOff x="982662" y="3463925"/>
            <a:chExt cx="269875" cy="269875"/>
          </a:xfrm>
        </p:grpSpPr>
        <p:sp>
          <p:nvSpPr>
            <p:cNvPr id="42" name="Oval 14">
              <a:extLst>
                <a:ext uri="{FF2B5EF4-FFF2-40B4-BE49-F238E27FC236}">
                  <a16:creationId xmlns:a16="http://schemas.microsoft.com/office/drawing/2014/main" id="{6EB50411-A951-431C-A1A0-AE947A065701}"/>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3" name="Freeform 15">
              <a:extLst>
                <a:ext uri="{FF2B5EF4-FFF2-40B4-BE49-F238E27FC236}">
                  <a16:creationId xmlns:a16="http://schemas.microsoft.com/office/drawing/2014/main" id="{9F730B50-1E99-45D7-BC4E-CD010EC4B131}"/>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4" name="Group 43">
            <a:extLst>
              <a:ext uri="{FF2B5EF4-FFF2-40B4-BE49-F238E27FC236}">
                <a16:creationId xmlns:a16="http://schemas.microsoft.com/office/drawing/2014/main" id="{A4A8A2DE-C0BA-46A8-B657-09AD2CE08E5D}"/>
              </a:ext>
            </a:extLst>
          </p:cNvPr>
          <p:cNvGrpSpPr>
            <a:grpSpLocks noChangeAspect="1"/>
          </p:cNvGrpSpPr>
          <p:nvPr/>
        </p:nvGrpSpPr>
        <p:grpSpPr>
          <a:xfrm>
            <a:off x="11654400" y="2708030"/>
            <a:ext cx="306910" cy="306910"/>
            <a:chOff x="982662" y="3463925"/>
            <a:chExt cx="269875" cy="269875"/>
          </a:xfrm>
        </p:grpSpPr>
        <p:sp>
          <p:nvSpPr>
            <p:cNvPr id="45" name="Oval 14">
              <a:extLst>
                <a:ext uri="{FF2B5EF4-FFF2-40B4-BE49-F238E27FC236}">
                  <a16:creationId xmlns:a16="http://schemas.microsoft.com/office/drawing/2014/main" id="{E837CB97-4CC8-4294-8441-F979EEDCDD8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8" name="Freeform 15">
              <a:extLst>
                <a:ext uri="{FF2B5EF4-FFF2-40B4-BE49-F238E27FC236}">
                  <a16:creationId xmlns:a16="http://schemas.microsoft.com/office/drawing/2014/main" id="{638822C8-4212-426E-99E5-3D0901C2BBEA}"/>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9" name="Group 48">
            <a:extLst>
              <a:ext uri="{FF2B5EF4-FFF2-40B4-BE49-F238E27FC236}">
                <a16:creationId xmlns:a16="http://schemas.microsoft.com/office/drawing/2014/main" id="{A18D921E-3091-4D1F-9350-451D4FC8C1BC}"/>
              </a:ext>
            </a:extLst>
          </p:cNvPr>
          <p:cNvGrpSpPr>
            <a:grpSpLocks noChangeAspect="1"/>
          </p:cNvGrpSpPr>
          <p:nvPr/>
        </p:nvGrpSpPr>
        <p:grpSpPr>
          <a:xfrm>
            <a:off x="11654400" y="3821633"/>
            <a:ext cx="306910" cy="306910"/>
            <a:chOff x="982662" y="3463925"/>
            <a:chExt cx="269875" cy="269875"/>
          </a:xfrm>
        </p:grpSpPr>
        <p:sp>
          <p:nvSpPr>
            <p:cNvPr id="50" name="Oval 14">
              <a:extLst>
                <a:ext uri="{FF2B5EF4-FFF2-40B4-BE49-F238E27FC236}">
                  <a16:creationId xmlns:a16="http://schemas.microsoft.com/office/drawing/2014/main" id="{1799D166-0DAA-44AF-BA78-EFA9B1E04E01}"/>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2" name="Freeform 15">
              <a:extLst>
                <a:ext uri="{FF2B5EF4-FFF2-40B4-BE49-F238E27FC236}">
                  <a16:creationId xmlns:a16="http://schemas.microsoft.com/office/drawing/2014/main" id="{6F92DF9B-7032-40A6-930B-3CB701C4105E}"/>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3" name="Group 52">
            <a:extLst>
              <a:ext uri="{FF2B5EF4-FFF2-40B4-BE49-F238E27FC236}">
                <a16:creationId xmlns:a16="http://schemas.microsoft.com/office/drawing/2014/main" id="{E346DE15-AAE8-4DAD-A327-EF9D3B107EDB}"/>
              </a:ext>
            </a:extLst>
          </p:cNvPr>
          <p:cNvGrpSpPr>
            <a:grpSpLocks noChangeAspect="1"/>
          </p:cNvGrpSpPr>
          <p:nvPr/>
        </p:nvGrpSpPr>
        <p:grpSpPr>
          <a:xfrm>
            <a:off x="9177543" y="949378"/>
            <a:ext cx="306910" cy="306910"/>
            <a:chOff x="982662" y="3463925"/>
            <a:chExt cx="269875" cy="269875"/>
          </a:xfrm>
        </p:grpSpPr>
        <p:sp>
          <p:nvSpPr>
            <p:cNvPr id="54" name="Oval 14">
              <a:extLst>
                <a:ext uri="{FF2B5EF4-FFF2-40B4-BE49-F238E27FC236}">
                  <a16:creationId xmlns:a16="http://schemas.microsoft.com/office/drawing/2014/main" id="{B7CA219D-F244-42A5-A30D-2ABFA24AEF2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5" name="Freeform 15">
              <a:extLst>
                <a:ext uri="{FF2B5EF4-FFF2-40B4-BE49-F238E27FC236}">
                  <a16:creationId xmlns:a16="http://schemas.microsoft.com/office/drawing/2014/main" id="{60173DCF-063D-47A9-9396-615C2132BDD0}"/>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 name="TextBox 3">
            <a:extLst>
              <a:ext uri="{FF2B5EF4-FFF2-40B4-BE49-F238E27FC236}">
                <a16:creationId xmlns:a16="http://schemas.microsoft.com/office/drawing/2014/main" id="{50AC7B7F-6D47-44FC-8F4E-46FC2CA7AF66}"/>
              </a:ext>
            </a:extLst>
          </p:cNvPr>
          <p:cNvSpPr txBox="1"/>
          <p:nvPr/>
        </p:nvSpPr>
        <p:spPr>
          <a:xfrm>
            <a:off x="9470210" y="903904"/>
            <a:ext cx="2595295" cy="3978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12284C"/>
                </a:solidFill>
              </a:rPr>
              <a:t>Multiple funding streams (where applicable) included in single consolidated application for each LEA (286 in total)</a:t>
            </a:r>
          </a:p>
        </p:txBody>
      </p:sp>
      <p:grpSp>
        <p:nvGrpSpPr>
          <p:cNvPr id="56" name="Group 55">
            <a:extLst>
              <a:ext uri="{FF2B5EF4-FFF2-40B4-BE49-F238E27FC236}">
                <a16:creationId xmlns:a16="http://schemas.microsoft.com/office/drawing/2014/main" id="{F4A667F5-38C0-D242-BDF3-5E46525EED5D}"/>
              </a:ext>
            </a:extLst>
          </p:cNvPr>
          <p:cNvGrpSpPr>
            <a:grpSpLocks noChangeAspect="1"/>
          </p:cNvGrpSpPr>
          <p:nvPr/>
        </p:nvGrpSpPr>
        <p:grpSpPr>
          <a:xfrm>
            <a:off x="11654400" y="4867113"/>
            <a:ext cx="306910" cy="306910"/>
            <a:chOff x="982662" y="3463925"/>
            <a:chExt cx="269875" cy="269875"/>
          </a:xfrm>
        </p:grpSpPr>
        <p:sp>
          <p:nvSpPr>
            <p:cNvPr id="57" name="Oval 14">
              <a:extLst>
                <a:ext uri="{FF2B5EF4-FFF2-40B4-BE49-F238E27FC236}">
                  <a16:creationId xmlns:a16="http://schemas.microsoft.com/office/drawing/2014/main" id="{6070B02A-F3AB-8B44-B4B5-A93538257900}"/>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8" name="Freeform 15">
              <a:extLst>
                <a:ext uri="{FF2B5EF4-FFF2-40B4-BE49-F238E27FC236}">
                  <a16:creationId xmlns:a16="http://schemas.microsoft.com/office/drawing/2014/main" id="{48E7F7D9-87DD-BA4B-ADAF-5390AB247883}"/>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744110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6467"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BcgText 1"/>
          <p:cNvSpPr txBox="1"/>
          <p:nvPr userDrawn="1">
            <p:custDataLst>
              <p:tags r:id="rId4"/>
            </p:custDataLst>
          </p:nvPr>
        </p:nvSpPr>
        <p:spPr>
          <a:xfrm>
            <a:off x="639248" y="3040042"/>
            <a:ext cx="8633706" cy="548640"/>
          </a:xfrm>
          <a:prstGeom prst="rect">
            <a:avLst/>
          </a:prstGeom>
          <a:noFill/>
          <a:ln cap="rnd">
            <a:noFill/>
          </a:ln>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Open Sans"/>
                <a:ea typeface="+mn-ea"/>
                <a:cs typeface="+mn-cs"/>
              </a:rPr>
              <a:t>ESSER III &amp; EANS II update</a:t>
            </a:r>
          </a:p>
        </p:txBody>
      </p:sp>
    </p:spTree>
    <p:custDataLst>
      <p:tags r:id="rId2"/>
    </p:custDataLst>
    <p:extLst>
      <p:ext uri="{BB962C8B-B14F-4D97-AF65-F5344CB8AC3E}">
        <p14:creationId xmlns:p14="http://schemas.microsoft.com/office/powerpoint/2010/main" val="3303748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3FDDC8B-F160-4A7D-B99F-7D8806F4E9A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8515"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D3FDDC8B-F160-4A7D-B99F-7D8806F4E9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BB50DD-9FEB-4F5B-B504-2D8D9AD5C433}"/>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2" name="Title 1">
            <a:extLst>
              <a:ext uri="{FF2B5EF4-FFF2-40B4-BE49-F238E27FC236}">
                <a16:creationId xmlns:a16="http://schemas.microsoft.com/office/drawing/2014/main" id="{FF538E3E-5E67-4AF1-ACC7-0EC5378D8F66}"/>
              </a:ext>
            </a:extLst>
          </p:cNvPr>
          <p:cNvSpPr>
            <a:spLocks noGrp="1"/>
          </p:cNvSpPr>
          <p:nvPr>
            <p:ph type="title"/>
          </p:nvPr>
        </p:nvSpPr>
        <p:spPr>
          <a:xfrm>
            <a:off x="630000" y="622800"/>
            <a:ext cx="10933350" cy="886397"/>
          </a:xfrm>
        </p:spPr>
        <p:txBody>
          <a:bodyPr/>
          <a:lstStyle/>
          <a:p>
            <a:r>
              <a:rPr lang="en-US" sz="3200" dirty="0"/>
              <a:t>EANS II also similar to EANS I, with similar amount; no reimbursements allowed</a:t>
            </a:r>
          </a:p>
        </p:txBody>
      </p:sp>
      <p:sp>
        <p:nvSpPr>
          <p:cNvPr id="6" name="TextBox 5">
            <a:extLst>
              <a:ext uri="{FF2B5EF4-FFF2-40B4-BE49-F238E27FC236}">
                <a16:creationId xmlns:a16="http://schemas.microsoft.com/office/drawing/2014/main" id="{25347346-414A-4309-A7A9-0C78FBC4E645}"/>
              </a:ext>
            </a:extLst>
          </p:cNvPr>
          <p:cNvSpPr txBox="1"/>
          <p:nvPr/>
        </p:nvSpPr>
        <p:spPr>
          <a:xfrm>
            <a:off x="4298318" y="2582726"/>
            <a:ext cx="1164981"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mn-ea"/>
                <a:cs typeface="+mn-cs"/>
              </a:rPr>
              <a:t>$26.7M</a:t>
            </a:r>
          </a:p>
        </p:txBody>
      </p:sp>
      <p:sp>
        <p:nvSpPr>
          <p:cNvPr id="7" name="TextBox 6">
            <a:extLst>
              <a:ext uri="{FF2B5EF4-FFF2-40B4-BE49-F238E27FC236}">
                <a16:creationId xmlns:a16="http://schemas.microsoft.com/office/drawing/2014/main" id="{C189A80F-9F66-4F6B-805B-C304E33232C7}"/>
              </a:ext>
            </a:extLst>
          </p:cNvPr>
          <p:cNvSpPr txBox="1"/>
          <p:nvPr/>
        </p:nvSpPr>
        <p:spPr>
          <a:xfrm>
            <a:off x="8565428" y="2582726"/>
            <a:ext cx="1763047"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pen Sans"/>
                <a:ea typeface="+mn-ea"/>
                <a:cs typeface="+mn-cs"/>
              </a:rPr>
              <a:t>TBD</a:t>
            </a:r>
            <a:r>
              <a:rPr kumimoji="0" lang="en-US" sz="1800" b="1" i="0" u="none" strike="noStrike" kern="1200" cap="none" spc="0" normalizeH="0" baseline="30000" noProof="0" dirty="0">
                <a:ln>
                  <a:noFill/>
                </a:ln>
                <a:solidFill>
                  <a:srgbClr val="000000"/>
                </a:solidFill>
                <a:effectLst/>
                <a:uLnTx/>
                <a:uFillTx/>
                <a:latin typeface="Open Sans"/>
                <a:ea typeface="+mn-ea"/>
                <a:cs typeface="+mn-cs"/>
              </a:rPr>
              <a:t>1</a:t>
            </a:r>
            <a:endParaRPr kumimoji="0" lang="en-US" sz="18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08E3EF33-D86A-4069-A9A2-D82B3DB5501E}"/>
              </a:ext>
            </a:extLst>
          </p:cNvPr>
          <p:cNvSpPr txBox="1"/>
          <p:nvPr/>
        </p:nvSpPr>
        <p:spPr>
          <a:xfrm>
            <a:off x="3200917" y="1872460"/>
            <a:ext cx="3359782" cy="400110"/>
          </a:xfrm>
          <a:prstGeom prst="rect">
            <a:avLst/>
          </a:prstGeom>
          <a:solidFill>
            <a:srgbClr val="FFE8B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mn-ea"/>
                <a:cs typeface="+mn-cs"/>
              </a:rPr>
              <a:t>EANS I</a:t>
            </a:r>
          </a:p>
        </p:txBody>
      </p:sp>
      <p:sp>
        <p:nvSpPr>
          <p:cNvPr id="9" name="TextBox 8">
            <a:extLst>
              <a:ext uri="{FF2B5EF4-FFF2-40B4-BE49-F238E27FC236}">
                <a16:creationId xmlns:a16="http://schemas.microsoft.com/office/drawing/2014/main" id="{16281B2C-5135-4F5C-A975-4D74DE17775D}"/>
              </a:ext>
            </a:extLst>
          </p:cNvPr>
          <p:cNvSpPr txBox="1"/>
          <p:nvPr/>
        </p:nvSpPr>
        <p:spPr>
          <a:xfrm>
            <a:off x="8059870" y="1872460"/>
            <a:ext cx="2774163" cy="400110"/>
          </a:xfrm>
          <a:prstGeom prst="rect">
            <a:avLst/>
          </a:prstGeom>
          <a:solidFill>
            <a:srgbClr val="FFD180"/>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mn-ea"/>
                <a:cs typeface="+mn-cs"/>
              </a:rPr>
              <a:t>EANS II</a:t>
            </a:r>
          </a:p>
        </p:txBody>
      </p:sp>
      <p:sp>
        <p:nvSpPr>
          <p:cNvPr id="10" name="TextBox 9">
            <a:extLst>
              <a:ext uri="{FF2B5EF4-FFF2-40B4-BE49-F238E27FC236}">
                <a16:creationId xmlns:a16="http://schemas.microsoft.com/office/drawing/2014/main" id="{34070258-C414-4456-9013-1ADEE45EBAE7}"/>
              </a:ext>
            </a:extLst>
          </p:cNvPr>
          <p:cNvSpPr txBox="1"/>
          <p:nvPr/>
        </p:nvSpPr>
        <p:spPr>
          <a:xfrm>
            <a:off x="3200917" y="4503856"/>
            <a:ext cx="3359782"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Reimbursement allowed for some categories</a:t>
            </a:r>
          </a:p>
        </p:txBody>
      </p:sp>
      <p:sp>
        <p:nvSpPr>
          <p:cNvPr id="11" name="TextBox 10">
            <a:extLst>
              <a:ext uri="{FF2B5EF4-FFF2-40B4-BE49-F238E27FC236}">
                <a16:creationId xmlns:a16="http://schemas.microsoft.com/office/drawing/2014/main" id="{DAABD119-3D3C-4655-9853-CA8F838BDED7}"/>
              </a:ext>
            </a:extLst>
          </p:cNvPr>
          <p:cNvSpPr txBox="1"/>
          <p:nvPr/>
        </p:nvSpPr>
        <p:spPr>
          <a:xfrm>
            <a:off x="8059870" y="4503856"/>
            <a:ext cx="2774163"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No reimbursements allowed</a:t>
            </a:r>
          </a:p>
        </p:txBody>
      </p:sp>
      <p:sp>
        <p:nvSpPr>
          <p:cNvPr id="12" name="Rectangle 11">
            <a:extLst>
              <a:ext uri="{FF2B5EF4-FFF2-40B4-BE49-F238E27FC236}">
                <a16:creationId xmlns:a16="http://schemas.microsoft.com/office/drawing/2014/main" id="{551FB864-E3B6-4919-9B5B-E9DBFB4CC283}"/>
              </a:ext>
            </a:extLst>
          </p:cNvPr>
          <p:cNvSpPr/>
          <p:nvPr/>
        </p:nvSpPr>
        <p:spPr>
          <a:xfrm>
            <a:off x="533400" y="5973590"/>
            <a:ext cx="1102995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rgbClr val="12284C"/>
                </a:solidFill>
                <a:effectLst/>
                <a:uLnTx/>
                <a:uFillTx/>
                <a:latin typeface="Open Sans"/>
                <a:ea typeface="+mn-ea"/>
                <a:cs typeface="+mn-cs"/>
              </a:rPr>
              <a:t>1</a:t>
            </a:r>
            <a:r>
              <a:rPr kumimoji="0" lang="en-US" sz="1100" b="0" i="0" u="none" strike="noStrike" kern="1200" cap="none" spc="0" normalizeH="0" baseline="0" noProof="0" dirty="0">
                <a:ln>
                  <a:noFill/>
                </a:ln>
                <a:solidFill>
                  <a:srgbClr val="12284C"/>
                </a:solidFill>
                <a:effectLst/>
                <a:uLnTx/>
                <a:uFillTx/>
                <a:latin typeface="Open Sans"/>
                <a:ea typeface="+mn-ea"/>
                <a:cs typeface="+mn-cs"/>
              </a:rPr>
              <a:t> Official state allocation still pending; total EANS II amount of $2.75B equivalent to total amount for EANS I</a:t>
            </a:r>
          </a:p>
        </p:txBody>
      </p:sp>
      <p:sp>
        <p:nvSpPr>
          <p:cNvPr id="13" name="TextBox 12">
            <a:extLst>
              <a:ext uri="{FF2B5EF4-FFF2-40B4-BE49-F238E27FC236}">
                <a16:creationId xmlns:a16="http://schemas.microsoft.com/office/drawing/2014/main" id="{F0E371EF-5BF1-4985-BAEE-6989BFE8BDF8}"/>
              </a:ext>
            </a:extLst>
          </p:cNvPr>
          <p:cNvSpPr txBox="1"/>
          <p:nvPr/>
        </p:nvSpPr>
        <p:spPr>
          <a:xfrm>
            <a:off x="4298318" y="3201097"/>
            <a:ext cx="1164981"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9/30/23</a:t>
            </a:r>
          </a:p>
        </p:txBody>
      </p:sp>
      <p:sp>
        <p:nvSpPr>
          <p:cNvPr id="14" name="TextBox 13">
            <a:extLst>
              <a:ext uri="{FF2B5EF4-FFF2-40B4-BE49-F238E27FC236}">
                <a16:creationId xmlns:a16="http://schemas.microsoft.com/office/drawing/2014/main" id="{A76FFFE9-C113-457A-A7DD-C92F40529E86}"/>
              </a:ext>
            </a:extLst>
          </p:cNvPr>
          <p:cNvSpPr txBox="1"/>
          <p:nvPr/>
        </p:nvSpPr>
        <p:spPr>
          <a:xfrm>
            <a:off x="8864461" y="3201097"/>
            <a:ext cx="1164981"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9/30/24</a:t>
            </a:r>
          </a:p>
        </p:txBody>
      </p:sp>
      <p:sp>
        <p:nvSpPr>
          <p:cNvPr id="16" name="TextBox 15">
            <a:extLst>
              <a:ext uri="{FF2B5EF4-FFF2-40B4-BE49-F238E27FC236}">
                <a16:creationId xmlns:a16="http://schemas.microsoft.com/office/drawing/2014/main" id="{36BAE072-54C3-4971-96C5-E47B3973CCF4}"/>
              </a:ext>
            </a:extLst>
          </p:cNvPr>
          <p:cNvSpPr txBox="1"/>
          <p:nvPr/>
        </p:nvSpPr>
        <p:spPr>
          <a:xfrm>
            <a:off x="7854984" y="5358129"/>
            <a:ext cx="3183936"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Open Sans"/>
                <a:ea typeface="+mn-ea"/>
                <a:cs typeface="+mn-cs"/>
              </a:rPr>
              <a:t>Receipt of funds date TBD</a:t>
            </a:r>
            <a:endParaRPr kumimoji="0" lang="en-US" sz="1800" b="0" i="1" u="none" strike="noStrike" kern="1200" cap="none" spc="0" normalizeH="0" baseline="0" noProof="0" dirty="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30 days to launch ap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30 days to respond to apps</a:t>
            </a:r>
          </a:p>
        </p:txBody>
      </p:sp>
      <p:sp>
        <p:nvSpPr>
          <p:cNvPr id="17" name="TextBox 16">
            <a:extLst>
              <a:ext uri="{FF2B5EF4-FFF2-40B4-BE49-F238E27FC236}">
                <a16:creationId xmlns:a16="http://schemas.microsoft.com/office/drawing/2014/main" id="{22E565E6-2791-4D88-B38A-926CA6C39568}"/>
              </a:ext>
            </a:extLst>
          </p:cNvPr>
          <p:cNvSpPr txBox="1"/>
          <p:nvPr/>
        </p:nvSpPr>
        <p:spPr>
          <a:xfrm>
            <a:off x="3288840" y="5275088"/>
            <a:ext cx="3183936"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30 days to launch ap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30 days to respond to apps</a:t>
            </a:r>
          </a:p>
        </p:txBody>
      </p:sp>
      <p:cxnSp>
        <p:nvCxnSpPr>
          <p:cNvPr id="19" name="Straight Connector 18">
            <a:extLst>
              <a:ext uri="{FF2B5EF4-FFF2-40B4-BE49-F238E27FC236}">
                <a16:creationId xmlns:a16="http://schemas.microsoft.com/office/drawing/2014/main" id="{65988F44-5BFF-42C8-91C3-19C541D22B3D}"/>
              </a:ext>
            </a:extLst>
          </p:cNvPr>
          <p:cNvCxnSpPr>
            <a:cxnSpLocks/>
          </p:cNvCxnSpPr>
          <p:nvPr/>
        </p:nvCxnSpPr>
        <p:spPr>
          <a:xfrm>
            <a:off x="7280031" y="1872460"/>
            <a:ext cx="0" cy="397208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7F695A6-CB36-4CF8-8B75-3D326CB114E2}"/>
              </a:ext>
            </a:extLst>
          </p:cNvPr>
          <p:cNvCxnSpPr>
            <a:cxnSpLocks/>
          </p:cNvCxnSpPr>
          <p:nvPr/>
        </p:nvCxnSpPr>
        <p:spPr>
          <a:xfrm>
            <a:off x="2628900" y="1872460"/>
            <a:ext cx="0" cy="397208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86789F4-3945-4BD4-8AD5-7A1A9E4B65AB}"/>
              </a:ext>
            </a:extLst>
          </p:cNvPr>
          <p:cNvCxnSpPr>
            <a:cxnSpLocks/>
          </p:cNvCxnSpPr>
          <p:nvPr/>
        </p:nvCxnSpPr>
        <p:spPr>
          <a:xfrm>
            <a:off x="1081454" y="3078620"/>
            <a:ext cx="9752579"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8422432-6950-454B-A810-85F09667B9CC}"/>
              </a:ext>
            </a:extLst>
          </p:cNvPr>
          <p:cNvSpPr txBox="1"/>
          <p:nvPr/>
        </p:nvSpPr>
        <p:spPr>
          <a:xfrm>
            <a:off x="835614" y="2559937"/>
            <a:ext cx="1529859" cy="4189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2284C"/>
                </a:solidFill>
                <a:effectLst/>
                <a:uLnTx/>
                <a:uFillTx/>
                <a:latin typeface="Open Sans Semibold"/>
                <a:ea typeface="+mn-ea"/>
                <a:cs typeface="+mn-cs"/>
              </a:rPr>
              <a:t>Kansas Allocation</a:t>
            </a:r>
          </a:p>
        </p:txBody>
      </p:sp>
      <p:sp>
        <p:nvSpPr>
          <p:cNvPr id="25" name="TextBox 24">
            <a:extLst>
              <a:ext uri="{FF2B5EF4-FFF2-40B4-BE49-F238E27FC236}">
                <a16:creationId xmlns:a16="http://schemas.microsoft.com/office/drawing/2014/main" id="{34C607E4-82CC-4007-8F77-9E6A587DC285}"/>
              </a:ext>
            </a:extLst>
          </p:cNvPr>
          <p:cNvSpPr txBox="1"/>
          <p:nvPr/>
        </p:nvSpPr>
        <p:spPr>
          <a:xfrm>
            <a:off x="835614" y="3178308"/>
            <a:ext cx="1529859" cy="4189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2284C"/>
                </a:solidFill>
                <a:effectLst/>
                <a:uLnTx/>
                <a:uFillTx/>
                <a:latin typeface="Open Sans Semibold"/>
                <a:ea typeface="+mn-ea"/>
                <a:cs typeface="+mn-cs"/>
              </a:rPr>
              <a:t>Awarded by</a:t>
            </a:r>
          </a:p>
        </p:txBody>
      </p:sp>
      <p:cxnSp>
        <p:nvCxnSpPr>
          <p:cNvPr id="26" name="Straight Connector 25">
            <a:extLst>
              <a:ext uri="{FF2B5EF4-FFF2-40B4-BE49-F238E27FC236}">
                <a16:creationId xmlns:a16="http://schemas.microsoft.com/office/drawing/2014/main" id="{A7ED3F5D-D751-465A-852B-1AE6DB3631C3}"/>
              </a:ext>
            </a:extLst>
          </p:cNvPr>
          <p:cNvCxnSpPr>
            <a:cxnSpLocks/>
          </p:cNvCxnSpPr>
          <p:nvPr/>
        </p:nvCxnSpPr>
        <p:spPr>
          <a:xfrm>
            <a:off x="1081454" y="3723892"/>
            <a:ext cx="9752579"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8CAC12B-117A-4A83-A2CA-FF1956D14F17}"/>
              </a:ext>
            </a:extLst>
          </p:cNvPr>
          <p:cNvSpPr txBox="1"/>
          <p:nvPr/>
        </p:nvSpPr>
        <p:spPr>
          <a:xfrm>
            <a:off x="465996" y="4481067"/>
            <a:ext cx="1899478" cy="4189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2284C"/>
                </a:solidFill>
                <a:effectLst/>
                <a:uLnTx/>
                <a:uFillTx/>
                <a:latin typeface="Open Sans Semibold"/>
                <a:ea typeface="+mn-ea"/>
                <a:cs typeface="+mn-cs"/>
              </a:rPr>
              <a:t>Reimbursement</a:t>
            </a:r>
          </a:p>
        </p:txBody>
      </p:sp>
      <p:sp>
        <p:nvSpPr>
          <p:cNvPr id="28" name="TextBox 27">
            <a:extLst>
              <a:ext uri="{FF2B5EF4-FFF2-40B4-BE49-F238E27FC236}">
                <a16:creationId xmlns:a16="http://schemas.microsoft.com/office/drawing/2014/main" id="{AF7BE871-77B5-473D-844B-2E2A5E1CB579}"/>
              </a:ext>
            </a:extLst>
          </p:cNvPr>
          <p:cNvSpPr txBox="1"/>
          <p:nvPr/>
        </p:nvSpPr>
        <p:spPr>
          <a:xfrm>
            <a:off x="465996" y="5252299"/>
            <a:ext cx="1899478" cy="4189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2284C"/>
                </a:solidFill>
                <a:effectLst/>
                <a:uLnTx/>
                <a:uFillTx/>
                <a:latin typeface="Open Sans Semibold"/>
                <a:ea typeface="+mn-ea"/>
                <a:cs typeface="+mn-cs"/>
              </a:rPr>
              <a:t>Deadlines</a:t>
            </a:r>
          </a:p>
        </p:txBody>
      </p:sp>
      <p:cxnSp>
        <p:nvCxnSpPr>
          <p:cNvPr id="29" name="Straight Connector 28">
            <a:extLst>
              <a:ext uri="{FF2B5EF4-FFF2-40B4-BE49-F238E27FC236}">
                <a16:creationId xmlns:a16="http://schemas.microsoft.com/office/drawing/2014/main" id="{559B7950-10F2-41DA-A2CD-584F65266706}"/>
              </a:ext>
            </a:extLst>
          </p:cNvPr>
          <p:cNvCxnSpPr>
            <a:cxnSpLocks/>
          </p:cNvCxnSpPr>
          <p:nvPr/>
        </p:nvCxnSpPr>
        <p:spPr>
          <a:xfrm>
            <a:off x="1081454" y="5076180"/>
            <a:ext cx="9752579"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D2C3484-630A-462D-B3AD-EA64DAEB6F2F}"/>
              </a:ext>
            </a:extLst>
          </p:cNvPr>
          <p:cNvCxnSpPr>
            <a:cxnSpLocks/>
          </p:cNvCxnSpPr>
          <p:nvPr/>
        </p:nvCxnSpPr>
        <p:spPr>
          <a:xfrm>
            <a:off x="1081454" y="4339353"/>
            <a:ext cx="9752579"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5D2E2A6-1D43-4A5A-AF82-E0A3DF28D760}"/>
              </a:ext>
            </a:extLst>
          </p:cNvPr>
          <p:cNvSpPr txBox="1"/>
          <p:nvPr/>
        </p:nvSpPr>
        <p:spPr>
          <a:xfrm>
            <a:off x="835614" y="3809882"/>
            <a:ext cx="1529859" cy="4189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2284C"/>
                </a:solidFill>
                <a:effectLst/>
                <a:uLnTx/>
                <a:uFillTx/>
                <a:latin typeface="Open Sans Semibold"/>
                <a:ea typeface="+mn-ea"/>
                <a:cs typeface="+mn-cs"/>
              </a:rPr>
              <a:t>Prioritization</a:t>
            </a:r>
          </a:p>
        </p:txBody>
      </p:sp>
      <p:sp>
        <p:nvSpPr>
          <p:cNvPr id="32" name="TextBox 31">
            <a:extLst>
              <a:ext uri="{FF2B5EF4-FFF2-40B4-BE49-F238E27FC236}">
                <a16:creationId xmlns:a16="http://schemas.microsoft.com/office/drawing/2014/main" id="{8728E86C-4572-42E1-9F4F-CB935A45544F}"/>
              </a:ext>
            </a:extLst>
          </p:cNvPr>
          <p:cNvSpPr txBox="1"/>
          <p:nvPr/>
        </p:nvSpPr>
        <p:spPr>
          <a:xfrm>
            <a:off x="3200917" y="3844914"/>
            <a:ext cx="3359782"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Low income &amp; COVID need</a:t>
            </a:r>
          </a:p>
        </p:txBody>
      </p:sp>
      <p:sp>
        <p:nvSpPr>
          <p:cNvPr id="33" name="TextBox 32">
            <a:extLst>
              <a:ext uri="{FF2B5EF4-FFF2-40B4-BE49-F238E27FC236}">
                <a16:creationId xmlns:a16="http://schemas.microsoft.com/office/drawing/2014/main" id="{635717BB-D208-4EE4-87A1-80FB16DF8C23}"/>
              </a:ext>
            </a:extLst>
          </p:cNvPr>
          <p:cNvSpPr txBox="1"/>
          <p:nvPr/>
        </p:nvSpPr>
        <p:spPr>
          <a:xfrm>
            <a:off x="7767058" y="3844914"/>
            <a:ext cx="3359782"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Low income &amp; COVID need</a:t>
            </a:r>
          </a:p>
        </p:txBody>
      </p:sp>
    </p:spTree>
    <p:extLst>
      <p:ext uri="{BB962C8B-B14F-4D97-AF65-F5344CB8AC3E}">
        <p14:creationId xmlns:p14="http://schemas.microsoft.com/office/powerpoint/2010/main" val="1041839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3FDDC8B-F160-4A7D-B99F-7D8806F4E9A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9539"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D3FDDC8B-F160-4A7D-B99F-7D8806F4E9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BB50DD-9FEB-4F5B-B504-2D8D9AD5C433}"/>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2" name="Title 1">
            <a:extLst>
              <a:ext uri="{FF2B5EF4-FFF2-40B4-BE49-F238E27FC236}">
                <a16:creationId xmlns:a16="http://schemas.microsoft.com/office/drawing/2014/main" id="{FF538E3E-5E67-4AF1-ACC7-0EC5378D8F66}"/>
              </a:ext>
            </a:extLst>
          </p:cNvPr>
          <p:cNvSpPr>
            <a:spLocks noGrp="1"/>
          </p:cNvSpPr>
          <p:nvPr>
            <p:ph type="title"/>
          </p:nvPr>
        </p:nvSpPr>
        <p:spPr>
          <a:xfrm>
            <a:off x="629999" y="522923"/>
            <a:ext cx="11267323" cy="886397"/>
          </a:xfrm>
        </p:spPr>
        <p:txBody>
          <a:bodyPr/>
          <a:lstStyle/>
          <a:p>
            <a:r>
              <a:rPr lang="en-US" sz="3200" dirty="0"/>
              <a:t>ESSER III signed into law; overall similar to ESSER II with some key differences</a:t>
            </a:r>
          </a:p>
        </p:txBody>
      </p:sp>
      <p:sp>
        <p:nvSpPr>
          <p:cNvPr id="6" name="TextBox 5">
            <a:extLst>
              <a:ext uri="{FF2B5EF4-FFF2-40B4-BE49-F238E27FC236}">
                <a16:creationId xmlns:a16="http://schemas.microsoft.com/office/drawing/2014/main" id="{19D5D2EF-C03E-46FF-8685-9A6346571D69}"/>
              </a:ext>
            </a:extLst>
          </p:cNvPr>
          <p:cNvSpPr txBox="1"/>
          <p:nvPr/>
        </p:nvSpPr>
        <p:spPr>
          <a:xfrm>
            <a:off x="2068562" y="1688001"/>
            <a:ext cx="3965887" cy="400110"/>
          </a:xfrm>
          <a:prstGeom prst="rect">
            <a:avLst/>
          </a:prstGeom>
          <a:solidFill>
            <a:srgbClr val="C1ECE5"/>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mn-ea"/>
                <a:cs typeface="+mn-cs"/>
              </a:rPr>
              <a:t>ESSER II</a:t>
            </a:r>
          </a:p>
        </p:txBody>
      </p:sp>
      <p:sp>
        <p:nvSpPr>
          <p:cNvPr id="7" name="TextBox 6">
            <a:extLst>
              <a:ext uri="{FF2B5EF4-FFF2-40B4-BE49-F238E27FC236}">
                <a16:creationId xmlns:a16="http://schemas.microsoft.com/office/drawing/2014/main" id="{7F28A5B1-81E4-4A03-8F94-C5EB6B7B4DED}"/>
              </a:ext>
            </a:extLst>
          </p:cNvPr>
          <p:cNvSpPr txBox="1"/>
          <p:nvPr/>
        </p:nvSpPr>
        <p:spPr>
          <a:xfrm>
            <a:off x="6295292" y="1688001"/>
            <a:ext cx="5602037" cy="400110"/>
          </a:xfrm>
          <a:prstGeom prst="rect">
            <a:avLst/>
          </a:prstGeom>
          <a:solidFill>
            <a:srgbClr val="83DAC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mn-ea"/>
                <a:cs typeface="+mn-cs"/>
              </a:rPr>
              <a:t>ESSER III</a:t>
            </a:r>
          </a:p>
        </p:txBody>
      </p:sp>
      <p:sp>
        <p:nvSpPr>
          <p:cNvPr id="8" name="TextBox 7">
            <a:extLst>
              <a:ext uri="{FF2B5EF4-FFF2-40B4-BE49-F238E27FC236}">
                <a16:creationId xmlns:a16="http://schemas.microsoft.com/office/drawing/2014/main" id="{378CC10A-3883-4A7A-9084-BB9344EB456C}"/>
              </a:ext>
            </a:extLst>
          </p:cNvPr>
          <p:cNvSpPr txBox="1"/>
          <p:nvPr/>
        </p:nvSpPr>
        <p:spPr>
          <a:xfrm>
            <a:off x="3497312" y="2165223"/>
            <a:ext cx="1164981"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370M</a:t>
            </a:r>
          </a:p>
        </p:txBody>
      </p:sp>
      <p:sp>
        <p:nvSpPr>
          <p:cNvPr id="9" name="TextBox 8">
            <a:extLst>
              <a:ext uri="{FF2B5EF4-FFF2-40B4-BE49-F238E27FC236}">
                <a16:creationId xmlns:a16="http://schemas.microsoft.com/office/drawing/2014/main" id="{8AA56CCA-1472-4223-A8D9-BAA2BCA85818}"/>
              </a:ext>
            </a:extLst>
          </p:cNvPr>
          <p:cNvSpPr txBox="1"/>
          <p:nvPr/>
        </p:nvSpPr>
        <p:spPr>
          <a:xfrm>
            <a:off x="8239869" y="2182654"/>
            <a:ext cx="1617397"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TBD</a:t>
            </a:r>
            <a:r>
              <a:rPr kumimoji="0" lang="en-US" sz="1600" b="1" i="0" u="none" strike="noStrike" kern="1200" cap="none" spc="0" normalizeH="0" baseline="30000" noProof="0" dirty="0">
                <a:ln>
                  <a:noFill/>
                </a:ln>
                <a:solidFill>
                  <a:srgbClr val="000000"/>
                </a:solidFill>
                <a:effectLst/>
                <a:uLnTx/>
                <a:uFillTx/>
                <a:latin typeface="Open Sans"/>
                <a:ea typeface="+mn-ea"/>
                <a:cs typeface="+mn-cs"/>
              </a:rPr>
              <a:t>1</a:t>
            </a:r>
            <a:endParaRPr kumimoji="0" lang="en-US" sz="16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TextBox 9">
            <a:extLst>
              <a:ext uri="{FF2B5EF4-FFF2-40B4-BE49-F238E27FC236}">
                <a16:creationId xmlns:a16="http://schemas.microsoft.com/office/drawing/2014/main" id="{0008FDBF-5F24-44DD-8F50-99BEE50E9557}"/>
              </a:ext>
            </a:extLst>
          </p:cNvPr>
          <p:cNvSpPr txBox="1"/>
          <p:nvPr/>
        </p:nvSpPr>
        <p:spPr>
          <a:xfrm>
            <a:off x="3497312" y="2722585"/>
            <a:ext cx="1164981"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9/30/23</a:t>
            </a:r>
          </a:p>
        </p:txBody>
      </p:sp>
      <p:sp>
        <p:nvSpPr>
          <p:cNvPr id="11" name="TextBox 10">
            <a:extLst>
              <a:ext uri="{FF2B5EF4-FFF2-40B4-BE49-F238E27FC236}">
                <a16:creationId xmlns:a16="http://schemas.microsoft.com/office/drawing/2014/main" id="{2800450A-23CA-478F-90EE-B93B422C823B}"/>
              </a:ext>
            </a:extLst>
          </p:cNvPr>
          <p:cNvSpPr txBox="1"/>
          <p:nvPr/>
        </p:nvSpPr>
        <p:spPr>
          <a:xfrm>
            <a:off x="8466077" y="2740016"/>
            <a:ext cx="1164981"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9/30/24</a:t>
            </a:r>
          </a:p>
        </p:txBody>
      </p:sp>
      <p:sp>
        <p:nvSpPr>
          <p:cNvPr id="12" name="TextBox 11">
            <a:extLst>
              <a:ext uri="{FF2B5EF4-FFF2-40B4-BE49-F238E27FC236}">
                <a16:creationId xmlns:a16="http://schemas.microsoft.com/office/drawing/2014/main" id="{6A4EFCFA-FD04-4347-B898-69C414F1C272}"/>
              </a:ext>
            </a:extLst>
          </p:cNvPr>
          <p:cNvSpPr txBox="1"/>
          <p:nvPr/>
        </p:nvSpPr>
        <p:spPr>
          <a:xfrm>
            <a:off x="2068562" y="3279947"/>
            <a:ext cx="4022482"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90% to LEAs: any allowable uses</a:t>
            </a:r>
          </a:p>
        </p:txBody>
      </p:sp>
      <p:sp>
        <p:nvSpPr>
          <p:cNvPr id="13" name="TextBox 12">
            <a:extLst>
              <a:ext uri="{FF2B5EF4-FFF2-40B4-BE49-F238E27FC236}">
                <a16:creationId xmlns:a16="http://schemas.microsoft.com/office/drawing/2014/main" id="{8CEB9516-55A1-408D-89B9-C7E3CC8810F3}"/>
              </a:ext>
            </a:extLst>
          </p:cNvPr>
          <p:cNvSpPr txBox="1"/>
          <p:nvPr/>
        </p:nvSpPr>
        <p:spPr>
          <a:xfrm>
            <a:off x="6457942" y="3297378"/>
            <a:ext cx="5181251"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90% to LEAs: 20% must be used for learning loss</a:t>
            </a:r>
          </a:p>
        </p:txBody>
      </p:sp>
      <p:sp>
        <p:nvSpPr>
          <p:cNvPr id="14" name="TextBox 13">
            <a:extLst>
              <a:ext uri="{FF2B5EF4-FFF2-40B4-BE49-F238E27FC236}">
                <a16:creationId xmlns:a16="http://schemas.microsoft.com/office/drawing/2014/main" id="{5C4C7037-5529-452D-A7AB-407ACD36C572}"/>
              </a:ext>
            </a:extLst>
          </p:cNvPr>
          <p:cNvSpPr txBox="1"/>
          <p:nvPr/>
        </p:nvSpPr>
        <p:spPr>
          <a:xfrm>
            <a:off x="2068562" y="3837309"/>
            <a:ext cx="4022482"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15 allowable use categories</a:t>
            </a:r>
          </a:p>
        </p:txBody>
      </p:sp>
      <p:sp>
        <p:nvSpPr>
          <p:cNvPr id="16" name="TextBox 15">
            <a:extLst>
              <a:ext uri="{FF2B5EF4-FFF2-40B4-BE49-F238E27FC236}">
                <a16:creationId xmlns:a16="http://schemas.microsoft.com/office/drawing/2014/main" id="{76951D55-40D2-4180-A876-F6196CC7AEB2}"/>
              </a:ext>
            </a:extLst>
          </p:cNvPr>
          <p:cNvSpPr txBox="1"/>
          <p:nvPr/>
        </p:nvSpPr>
        <p:spPr>
          <a:xfrm>
            <a:off x="2068562" y="4517782"/>
            <a:ext cx="4022482"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9.5% to SEAs at their discretion; max 0.5% for administration</a:t>
            </a:r>
          </a:p>
        </p:txBody>
      </p:sp>
      <p:sp>
        <p:nvSpPr>
          <p:cNvPr id="17" name="TextBox 16">
            <a:extLst>
              <a:ext uri="{FF2B5EF4-FFF2-40B4-BE49-F238E27FC236}">
                <a16:creationId xmlns:a16="http://schemas.microsoft.com/office/drawing/2014/main" id="{02BAC937-2A3D-41AF-B017-034B787EA795}"/>
              </a:ext>
            </a:extLst>
          </p:cNvPr>
          <p:cNvSpPr txBox="1"/>
          <p:nvPr/>
        </p:nvSpPr>
        <p:spPr>
          <a:xfrm>
            <a:off x="6218910" y="4412102"/>
            <a:ext cx="5659315" cy="5847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5% learning loss; 1% afterschool; 1% summer enrichment; 2.5% at SEA discretion; max 0.5% for administration</a:t>
            </a:r>
          </a:p>
        </p:txBody>
      </p:sp>
      <p:sp>
        <p:nvSpPr>
          <p:cNvPr id="18" name="Rectangle 17">
            <a:extLst>
              <a:ext uri="{FF2B5EF4-FFF2-40B4-BE49-F238E27FC236}">
                <a16:creationId xmlns:a16="http://schemas.microsoft.com/office/drawing/2014/main" id="{5860F143-CEFF-4488-ABA5-02F64A3DE0D1}"/>
              </a:ext>
            </a:extLst>
          </p:cNvPr>
          <p:cNvSpPr/>
          <p:nvPr/>
        </p:nvSpPr>
        <p:spPr>
          <a:xfrm>
            <a:off x="409964" y="6071897"/>
            <a:ext cx="9894618"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solidFill>
                  <a:srgbClr val="12284C"/>
                </a:solidFill>
                <a:effectLst/>
                <a:uLnTx/>
                <a:uFillTx/>
                <a:latin typeface="Open Sans"/>
                <a:ea typeface="+mn-ea"/>
                <a:cs typeface="+mn-cs"/>
              </a:rPr>
              <a:t>1</a:t>
            </a:r>
            <a:r>
              <a:rPr kumimoji="0" lang="en-US" sz="1000" b="0" i="0" u="none" strike="noStrike" kern="1200" cap="none" spc="0" normalizeH="0" baseline="0" noProof="0" dirty="0">
                <a:ln>
                  <a:noFill/>
                </a:ln>
                <a:solidFill>
                  <a:srgbClr val="12284C"/>
                </a:solidFill>
                <a:effectLst/>
                <a:uLnTx/>
                <a:uFillTx/>
                <a:latin typeface="Open Sans"/>
                <a:ea typeface="+mn-ea"/>
                <a:cs typeface="+mn-cs"/>
              </a:rPr>
              <a:t> Official state allocation still pending; total ESSER III amount of $123B is ~2.25x the ESSER II amount of $54B</a:t>
            </a:r>
          </a:p>
        </p:txBody>
      </p:sp>
      <p:sp>
        <p:nvSpPr>
          <p:cNvPr id="19" name="TextBox 18">
            <a:extLst>
              <a:ext uri="{FF2B5EF4-FFF2-40B4-BE49-F238E27FC236}">
                <a16:creationId xmlns:a16="http://schemas.microsoft.com/office/drawing/2014/main" id="{029BBDBA-5540-4ED9-BFC9-05BACD44665F}"/>
              </a:ext>
            </a:extLst>
          </p:cNvPr>
          <p:cNvSpPr txBox="1"/>
          <p:nvPr/>
        </p:nvSpPr>
        <p:spPr>
          <a:xfrm>
            <a:off x="6295292" y="5215685"/>
            <a:ext cx="5506551" cy="5847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LEA must publish reopening plan if it hasn't already, including public comment period</a:t>
            </a:r>
          </a:p>
        </p:txBody>
      </p:sp>
      <p:cxnSp>
        <p:nvCxnSpPr>
          <p:cNvPr id="21" name="Straight Connector 20">
            <a:extLst>
              <a:ext uri="{FF2B5EF4-FFF2-40B4-BE49-F238E27FC236}">
                <a16:creationId xmlns:a16="http://schemas.microsoft.com/office/drawing/2014/main" id="{0B69FDBB-FD21-480B-8838-F73C7EFA408B}"/>
              </a:ext>
            </a:extLst>
          </p:cNvPr>
          <p:cNvCxnSpPr>
            <a:cxnSpLocks/>
          </p:cNvCxnSpPr>
          <p:nvPr/>
        </p:nvCxnSpPr>
        <p:spPr>
          <a:xfrm>
            <a:off x="6157546" y="1688001"/>
            <a:ext cx="0" cy="4350349"/>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3BB5B15-AB30-45E4-8DD4-390D64A516B7}"/>
              </a:ext>
            </a:extLst>
          </p:cNvPr>
          <p:cNvSpPr txBox="1"/>
          <p:nvPr/>
        </p:nvSpPr>
        <p:spPr>
          <a:xfrm>
            <a:off x="6457942" y="3854740"/>
            <a:ext cx="5181251"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Allowable use categories almost identical to ESSER II</a:t>
            </a:r>
          </a:p>
        </p:txBody>
      </p:sp>
      <p:cxnSp>
        <p:nvCxnSpPr>
          <p:cNvPr id="23" name="Straight Connector 22">
            <a:extLst>
              <a:ext uri="{FF2B5EF4-FFF2-40B4-BE49-F238E27FC236}">
                <a16:creationId xmlns:a16="http://schemas.microsoft.com/office/drawing/2014/main" id="{27BEA9C5-290C-4806-80CC-67622FB3DBF1}"/>
              </a:ext>
            </a:extLst>
          </p:cNvPr>
          <p:cNvCxnSpPr>
            <a:cxnSpLocks/>
          </p:cNvCxnSpPr>
          <p:nvPr/>
        </p:nvCxnSpPr>
        <p:spPr>
          <a:xfrm>
            <a:off x="2002059" y="1688001"/>
            <a:ext cx="0" cy="4350349"/>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D585FCE-3547-43C6-8294-20CAFC6A12AC}"/>
              </a:ext>
            </a:extLst>
          </p:cNvPr>
          <p:cNvSpPr txBox="1"/>
          <p:nvPr/>
        </p:nvSpPr>
        <p:spPr>
          <a:xfrm>
            <a:off x="237392" y="2142434"/>
            <a:ext cx="1529859" cy="4189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2284C"/>
                </a:solidFill>
                <a:effectLst/>
                <a:uLnTx/>
                <a:uFillTx/>
                <a:latin typeface="Open Sans Semibold"/>
                <a:ea typeface="+mn-ea"/>
                <a:cs typeface="+mn-cs"/>
              </a:rPr>
              <a:t>Kansas Allocation</a:t>
            </a:r>
          </a:p>
        </p:txBody>
      </p:sp>
      <p:sp>
        <p:nvSpPr>
          <p:cNvPr id="25" name="TextBox 24">
            <a:extLst>
              <a:ext uri="{FF2B5EF4-FFF2-40B4-BE49-F238E27FC236}">
                <a16:creationId xmlns:a16="http://schemas.microsoft.com/office/drawing/2014/main" id="{EC965FD2-43C9-471C-9409-8C82CDF12A9B}"/>
              </a:ext>
            </a:extLst>
          </p:cNvPr>
          <p:cNvSpPr txBox="1"/>
          <p:nvPr/>
        </p:nvSpPr>
        <p:spPr>
          <a:xfrm>
            <a:off x="237392" y="2699796"/>
            <a:ext cx="1529859" cy="4189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2284C"/>
                </a:solidFill>
                <a:effectLst/>
                <a:uLnTx/>
                <a:uFillTx/>
                <a:latin typeface="Open Sans Semibold"/>
                <a:ea typeface="+mn-ea"/>
                <a:cs typeface="+mn-cs"/>
              </a:rPr>
              <a:t>Awarded by</a:t>
            </a:r>
          </a:p>
        </p:txBody>
      </p:sp>
      <p:sp>
        <p:nvSpPr>
          <p:cNvPr id="26" name="TextBox 25">
            <a:extLst>
              <a:ext uri="{FF2B5EF4-FFF2-40B4-BE49-F238E27FC236}">
                <a16:creationId xmlns:a16="http://schemas.microsoft.com/office/drawing/2014/main" id="{D5EC1098-ECFE-4F22-902D-157DB2E9A2EB}"/>
              </a:ext>
            </a:extLst>
          </p:cNvPr>
          <p:cNvSpPr txBox="1"/>
          <p:nvPr/>
        </p:nvSpPr>
        <p:spPr>
          <a:xfrm>
            <a:off x="237392" y="3257158"/>
            <a:ext cx="1529859" cy="4189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2284C"/>
                </a:solidFill>
                <a:effectLst/>
                <a:uLnTx/>
                <a:uFillTx/>
                <a:latin typeface="Open Sans Semibold"/>
                <a:ea typeface="+mn-ea"/>
                <a:cs typeface="+mn-cs"/>
              </a:rPr>
              <a:t>LEA set-asides</a:t>
            </a:r>
          </a:p>
        </p:txBody>
      </p:sp>
      <p:sp>
        <p:nvSpPr>
          <p:cNvPr id="27" name="TextBox 26">
            <a:extLst>
              <a:ext uri="{FF2B5EF4-FFF2-40B4-BE49-F238E27FC236}">
                <a16:creationId xmlns:a16="http://schemas.microsoft.com/office/drawing/2014/main" id="{96576BBF-559F-4CBB-A506-9412E6A62C77}"/>
              </a:ext>
            </a:extLst>
          </p:cNvPr>
          <p:cNvSpPr txBox="1"/>
          <p:nvPr/>
        </p:nvSpPr>
        <p:spPr>
          <a:xfrm>
            <a:off x="237392" y="3814520"/>
            <a:ext cx="1529859" cy="4189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2284C"/>
                </a:solidFill>
                <a:effectLst/>
                <a:uLnTx/>
                <a:uFillTx/>
                <a:latin typeface="Open Sans Semibold"/>
                <a:ea typeface="+mn-ea"/>
                <a:cs typeface="+mn-cs"/>
              </a:rPr>
              <a:t>Allowable uses</a:t>
            </a:r>
          </a:p>
        </p:txBody>
      </p:sp>
      <p:sp>
        <p:nvSpPr>
          <p:cNvPr id="28" name="TextBox 27">
            <a:extLst>
              <a:ext uri="{FF2B5EF4-FFF2-40B4-BE49-F238E27FC236}">
                <a16:creationId xmlns:a16="http://schemas.microsoft.com/office/drawing/2014/main" id="{02BDDAFB-1C63-44BA-BE12-C33B47E0E08F}"/>
              </a:ext>
            </a:extLst>
          </p:cNvPr>
          <p:cNvSpPr txBox="1"/>
          <p:nvPr/>
        </p:nvSpPr>
        <p:spPr>
          <a:xfrm>
            <a:off x="237392" y="4494993"/>
            <a:ext cx="1529859" cy="4189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2284C"/>
                </a:solidFill>
                <a:effectLst/>
                <a:uLnTx/>
                <a:uFillTx/>
                <a:latin typeface="Open Sans Semibold"/>
                <a:ea typeface="+mn-ea"/>
                <a:cs typeface="+mn-cs"/>
              </a:rPr>
              <a:t>SEA set-asides</a:t>
            </a:r>
          </a:p>
        </p:txBody>
      </p:sp>
      <p:sp>
        <p:nvSpPr>
          <p:cNvPr id="29" name="TextBox 28">
            <a:extLst>
              <a:ext uri="{FF2B5EF4-FFF2-40B4-BE49-F238E27FC236}">
                <a16:creationId xmlns:a16="http://schemas.microsoft.com/office/drawing/2014/main" id="{2C0F47CC-A14C-4865-ACE9-0B0CD535AB5E}"/>
              </a:ext>
            </a:extLst>
          </p:cNvPr>
          <p:cNvSpPr txBox="1"/>
          <p:nvPr/>
        </p:nvSpPr>
        <p:spPr>
          <a:xfrm>
            <a:off x="237392" y="5298575"/>
            <a:ext cx="1529859" cy="4189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2284C"/>
                </a:solidFill>
                <a:effectLst/>
                <a:uLnTx/>
                <a:uFillTx/>
                <a:latin typeface="Open Sans Semibold"/>
                <a:ea typeface="+mn-ea"/>
                <a:cs typeface="+mn-cs"/>
              </a:rPr>
              <a:t>Reopening plans</a:t>
            </a:r>
          </a:p>
        </p:txBody>
      </p:sp>
      <p:sp>
        <p:nvSpPr>
          <p:cNvPr id="30" name="TextBox 29">
            <a:extLst>
              <a:ext uri="{FF2B5EF4-FFF2-40B4-BE49-F238E27FC236}">
                <a16:creationId xmlns:a16="http://schemas.microsoft.com/office/drawing/2014/main" id="{EE48C247-B1B3-4D67-850C-0B14DAE5D51E}"/>
              </a:ext>
            </a:extLst>
          </p:cNvPr>
          <p:cNvSpPr txBox="1"/>
          <p:nvPr/>
        </p:nvSpPr>
        <p:spPr>
          <a:xfrm>
            <a:off x="2068562" y="5321364"/>
            <a:ext cx="4022482" cy="3734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Open Sans"/>
                <a:ea typeface="+mn-ea"/>
                <a:cs typeface="+mn-cs"/>
              </a:rPr>
              <a:t>N/A</a:t>
            </a:r>
          </a:p>
        </p:txBody>
      </p:sp>
      <p:cxnSp>
        <p:nvCxnSpPr>
          <p:cNvPr id="34" name="Straight Connector 33">
            <a:extLst>
              <a:ext uri="{FF2B5EF4-FFF2-40B4-BE49-F238E27FC236}">
                <a16:creationId xmlns:a16="http://schemas.microsoft.com/office/drawing/2014/main" id="{A48A6B36-C00E-4C99-A0AD-D4648523FD8C}"/>
              </a:ext>
            </a:extLst>
          </p:cNvPr>
          <p:cNvCxnSpPr/>
          <p:nvPr/>
        </p:nvCxnSpPr>
        <p:spPr>
          <a:xfrm>
            <a:off x="237392" y="2630612"/>
            <a:ext cx="11659937"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365793F-011A-4844-BE12-43409E67EA95}"/>
              </a:ext>
            </a:extLst>
          </p:cNvPr>
          <p:cNvCxnSpPr/>
          <p:nvPr/>
        </p:nvCxnSpPr>
        <p:spPr>
          <a:xfrm>
            <a:off x="237392" y="3187974"/>
            <a:ext cx="11659937"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F7A58CB-0005-417F-8FFE-A0AD60746B05}"/>
              </a:ext>
            </a:extLst>
          </p:cNvPr>
          <p:cNvCxnSpPr/>
          <p:nvPr/>
        </p:nvCxnSpPr>
        <p:spPr>
          <a:xfrm>
            <a:off x="237392" y="3745336"/>
            <a:ext cx="11659937"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29B6833-B751-44EF-A608-8E28B3E88686}"/>
              </a:ext>
            </a:extLst>
          </p:cNvPr>
          <p:cNvCxnSpPr/>
          <p:nvPr/>
        </p:nvCxnSpPr>
        <p:spPr>
          <a:xfrm>
            <a:off x="237392" y="4302698"/>
            <a:ext cx="11659937"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DE857EE-4A50-45CE-A333-B9C4D4E02761}"/>
              </a:ext>
            </a:extLst>
          </p:cNvPr>
          <p:cNvCxnSpPr/>
          <p:nvPr/>
        </p:nvCxnSpPr>
        <p:spPr>
          <a:xfrm>
            <a:off x="237392" y="5106281"/>
            <a:ext cx="11659937"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7718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Tree>
    <p:extLst>
      <p:ext uri="{BB962C8B-B14F-4D97-AF65-F5344CB8AC3E}">
        <p14:creationId xmlns:p14="http://schemas.microsoft.com/office/powerpoint/2010/main" val="51301128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58256D1-096B-49FC-A2E9-A70D65BAF0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867" name="think-cell Slide" r:id="rId6" imgW="592" imgH="595" progId="TCLayout.ActiveDocument.1">
                  <p:embed/>
                </p:oleObj>
              </mc:Choice>
              <mc:Fallback>
                <p:oleObj name="think-cell Slide" r:id="rId6" imgW="592" imgH="595" progId="TCLayout.ActiveDocument.1">
                  <p:embed/>
                  <p:pic>
                    <p:nvPicPr>
                      <p:cNvPr id="7" name="Object 6" hidden="1">
                        <a:extLst>
                          <a:ext uri="{FF2B5EF4-FFF2-40B4-BE49-F238E27FC236}">
                            <a16:creationId xmlns:a16="http://schemas.microsoft.com/office/drawing/2014/main" id="{A58256D1-096B-49FC-A2E9-A70D65BAF0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C28115E-0D34-44D5-9FAC-74E5E79E390F}"/>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Open Sans Light" panose="020B0306030504020204" pitchFamily="34" charset="0"/>
              <a:ea typeface="+mn-ea"/>
              <a:cs typeface="+mn-cs"/>
              <a:sym typeface="Open Sans Light" panose="020B0306030504020204" pitchFamily="34" charset="0"/>
            </a:endParaRPr>
          </a:p>
        </p:txBody>
      </p:sp>
      <p:sp>
        <p:nvSpPr>
          <p:cNvPr id="3" name="Title 2">
            <a:extLst>
              <a:ext uri="{FF2B5EF4-FFF2-40B4-BE49-F238E27FC236}">
                <a16:creationId xmlns:a16="http://schemas.microsoft.com/office/drawing/2014/main" id="{0419C54A-E470-4392-8514-1A6C1E6B4DB4}"/>
              </a:ext>
            </a:extLst>
          </p:cNvPr>
          <p:cNvSpPr>
            <a:spLocks noGrp="1"/>
          </p:cNvSpPr>
          <p:nvPr>
            <p:ph type="title"/>
          </p:nvPr>
        </p:nvSpPr>
        <p:spPr>
          <a:xfrm>
            <a:off x="501129" y="2764203"/>
            <a:ext cx="2820160" cy="1314311"/>
          </a:xfrm>
        </p:spPr>
        <p:txBody>
          <a:bodyPr/>
          <a:lstStyle/>
          <a:p>
            <a:r>
              <a:rPr lang="en-US" sz="2800" dirty="0">
                <a:latin typeface="+mn-lt"/>
              </a:rPr>
              <a:t>This Task Force was set up to </a:t>
            </a:r>
            <a:r>
              <a:rPr lang="en-US" sz="2800" dirty="0">
                <a:solidFill>
                  <a:srgbClr val="F9A11B"/>
                </a:solidFill>
                <a:latin typeface="+mn-lt"/>
              </a:rPr>
              <a:t>maximize the use of these funds to meet the acute needs of Kansas students </a:t>
            </a:r>
            <a:r>
              <a:rPr lang="en-US" sz="2800" dirty="0">
                <a:latin typeface="+mn-lt"/>
              </a:rPr>
              <a:t>in line with federal regulations and Kansas K-12 priorities</a:t>
            </a:r>
          </a:p>
        </p:txBody>
      </p:sp>
      <p:sp>
        <p:nvSpPr>
          <p:cNvPr id="2" name="Text Placeholder 1">
            <a:extLst>
              <a:ext uri="{FF2B5EF4-FFF2-40B4-BE49-F238E27FC236}">
                <a16:creationId xmlns:a16="http://schemas.microsoft.com/office/drawing/2014/main" id="{58248B71-B4DA-4C8A-BC32-97FEB362DCA5}"/>
              </a:ext>
            </a:extLst>
          </p:cNvPr>
          <p:cNvSpPr>
            <a:spLocks noGrp="1"/>
          </p:cNvSpPr>
          <p:nvPr>
            <p:ph type="body" sz="quarter" idx="4294967295"/>
          </p:nvPr>
        </p:nvSpPr>
        <p:spPr>
          <a:xfrm>
            <a:off x="4174880" y="806319"/>
            <a:ext cx="7515991" cy="5245362"/>
          </a:xfrm>
        </p:spPr>
        <p:txBody>
          <a:bodyPr anchor="ctr"/>
          <a:lstStyle/>
          <a:p>
            <a:pPr marL="472500" lvl="1" indent="-342900">
              <a:lnSpc>
                <a:spcPct val="100000"/>
              </a:lnSpc>
              <a:spcAft>
                <a:spcPts val="1800"/>
              </a:spcAft>
              <a:buClr>
                <a:srgbClr val="051934"/>
              </a:buClr>
              <a:buSzPct val="100000"/>
              <a:buFont typeface="Wingdings" panose="05000000000000000000" pitchFamily="2" charset="2"/>
              <a:buChar char="Ø"/>
            </a:pPr>
            <a:r>
              <a:rPr lang="en-US" sz="2000" dirty="0">
                <a:solidFill>
                  <a:srgbClr val="000000"/>
                </a:solidFill>
              </a:rPr>
              <a:t>Ensure </a:t>
            </a:r>
            <a:r>
              <a:rPr lang="en-US" sz="2000" b="1" dirty="0">
                <a:solidFill>
                  <a:srgbClr val="000000"/>
                </a:solidFill>
              </a:rPr>
              <a:t>consistently compliant </a:t>
            </a:r>
            <a:r>
              <a:rPr lang="en-US" sz="2000" dirty="0">
                <a:solidFill>
                  <a:srgbClr val="000000"/>
                </a:solidFill>
              </a:rPr>
              <a:t>use of federal funds</a:t>
            </a:r>
          </a:p>
          <a:p>
            <a:pPr marL="472500" lvl="1" indent="-342900">
              <a:lnSpc>
                <a:spcPct val="100000"/>
              </a:lnSpc>
              <a:spcAft>
                <a:spcPts val="1800"/>
              </a:spcAft>
              <a:buClr>
                <a:srgbClr val="051934"/>
              </a:buClr>
              <a:buSzPct val="100000"/>
              <a:buFont typeface="Wingdings" panose="05000000000000000000" pitchFamily="2" charset="2"/>
              <a:buChar char="Ø"/>
            </a:pPr>
            <a:r>
              <a:rPr lang="en-US" sz="2000" dirty="0">
                <a:solidFill>
                  <a:srgbClr val="000000"/>
                </a:solidFill>
              </a:rPr>
              <a:t>Reflect </a:t>
            </a:r>
            <a:r>
              <a:rPr lang="en-US" sz="2000" b="1" dirty="0">
                <a:solidFill>
                  <a:srgbClr val="051934"/>
                </a:solidFill>
              </a:rPr>
              <a:t>guidance</a:t>
            </a:r>
            <a:r>
              <a:rPr lang="en-US" sz="2000" dirty="0">
                <a:solidFill>
                  <a:srgbClr val="000000"/>
                </a:solidFill>
              </a:rPr>
              <a:t> </a:t>
            </a:r>
            <a:r>
              <a:rPr lang="en-US" sz="2000" b="1" dirty="0">
                <a:solidFill>
                  <a:srgbClr val="000000"/>
                </a:solidFill>
              </a:rPr>
              <a:t>to LEAs and schools </a:t>
            </a:r>
            <a:r>
              <a:rPr lang="en-US" sz="2000" dirty="0">
                <a:solidFill>
                  <a:srgbClr val="000000"/>
                </a:solidFill>
              </a:rPr>
              <a:t>for how to prioritize spending of their funds</a:t>
            </a:r>
          </a:p>
          <a:p>
            <a:pPr marL="472500" lvl="1" indent="-342900">
              <a:lnSpc>
                <a:spcPct val="100000"/>
              </a:lnSpc>
              <a:spcAft>
                <a:spcPts val="1800"/>
              </a:spcAft>
              <a:buClr>
                <a:srgbClr val="051934"/>
              </a:buClr>
              <a:buSzPct val="100000"/>
              <a:buFont typeface="Wingdings" panose="05000000000000000000" pitchFamily="2" charset="2"/>
              <a:buChar char="Ø"/>
            </a:pPr>
            <a:r>
              <a:rPr lang="en-US" sz="2000" dirty="0">
                <a:solidFill>
                  <a:srgbClr val="000000"/>
                </a:solidFill>
              </a:rPr>
              <a:t>Ensure an ongoing voice in oversight from a </a:t>
            </a:r>
            <a:r>
              <a:rPr lang="en-US" sz="2000" b="1" dirty="0">
                <a:solidFill>
                  <a:srgbClr val="000000"/>
                </a:solidFill>
              </a:rPr>
              <a:t>range of stakeholder groups</a:t>
            </a:r>
          </a:p>
          <a:p>
            <a:pPr marL="472500" lvl="1" indent="-342900">
              <a:lnSpc>
                <a:spcPct val="100000"/>
              </a:lnSpc>
              <a:spcAft>
                <a:spcPts val="1800"/>
              </a:spcAft>
              <a:buClr>
                <a:srgbClr val="051934"/>
              </a:buClr>
              <a:buSzPct val="100000"/>
              <a:buFont typeface="Wingdings" panose="05000000000000000000" pitchFamily="2" charset="2"/>
              <a:buChar char="Ø"/>
            </a:pPr>
            <a:r>
              <a:rPr lang="en-US" sz="2000" dirty="0">
                <a:solidFill>
                  <a:srgbClr val="000000"/>
                </a:solidFill>
              </a:rPr>
              <a:t>Maintain </a:t>
            </a:r>
            <a:r>
              <a:rPr lang="en-US" sz="2000" b="1" dirty="0">
                <a:solidFill>
                  <a:srgbClr val="000000"/>
                </a:solidFill>
              </a:rPr>
              <a:t>balance of statewide vision with local considerations</a:t>
            </a:r>
            <a:r>
              <a:rPr lang="en-US" sz="2000" dirty="0">
                <a:solidFill>
                  <a:srgbClr val="000000"/>
                </a:solidFill>
              </a:rPr>
              <a:t> driving decisions across LEAs and schools</a:t>
            </a:r>
          </a:p>
          <a:p>
            <a:pPr marL="472500" lvl="1" indent="-342900">
              <a:lnSpc>
                <a:spcPct val="100000"/>
              </a:lnSpc>
              <a:spcAft>
                <a:spcPts val="1800"/>
              </a:spcAft>
              <a:buClr>
                <a:srgbClr val="051934"/>
              </a:buClr>
              <a:buSzPct val="100000"/>
              <a:buFont typeface="Wingdings" panose="05000000000000000000" pitchFamily="2" charset="2"/>
              <a:buChar char="Ø"/>
            </a:pPr>
            <a:r>
              <a:rPr lang="en-US" sz="2000" dirty="0">
                <a:solidFill>
                  <a:srgbClr val="000000"/>
                </a:solidFill>
              </a:rPr>
              <a:t>Provide transparency and </a:t>
            </a:r>
            <a:r>
              <a:rPr lang="en-US" sz="2000" b="1" dirty="0">
                <a:solidFill>
                  <a:srgbClr val="000000"/>
                </a:solidFill>
              </a:rPr>
              <a:t>foster public trust in how funds are being spent </a:t>
            </a:r>
            <a:r>
              <a:rPr lang="en-US" sz="2000" dirty="0">
                <a:solidFill>
                  <a:srgbClr val="000000"/>
                </a:solidFill>
              </a:rPr>
              <a:t>in response to acute pandemic-driven needs, above and beyond baseline budget needs</a:t>
            </a:r>
          </a:p>
        </p:txBody>
      </p:sp>
    </p:spTree>
    <p:extLst>
      <p:ext uri="{BB962C8B-B14F-4D97-AF65-F5344CB8AC3E}">
        <p14:creationId xmlns:p14="http://schemas.microsoft.com/office/powerpoint/2010/main" val="17734230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096827F-6CE7-4CE3-8C7B-F02EE2004F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915" name="think-cell Slide" r:id="rId6" imgW="592" imgH="595" progId="TCLayout.ActiveDocument.1">
                  <p:embed/>
                </p:oleObj>
              </mc:Choice>
              <mc:Fallback>
                <p:oleObj name="think-cell Slide" r:id="rId6" imgW="592" imgH="595" progId="TCLayout.ActiveDocument.1">
                  <p:embed/>
                  <p:pic>
                    <p:nvPicPr>
                      <p:cNvPr id="4" name="Object 3" hidden="1">
                        <a:extLst>
                          <a:ext uri="{FF2B5EF4-FFF2-40B4-BE49-F238E27FC236}">
                            <a16:creationId xmlns:a16="http://schemas.microsoft.com/office/drawing/2014/main" id="{9096827F-6CE7-4CE3-8C7B-F02EE2004F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FF2622-D1F1-4F4A-A7F9-41161C8C2FBB}"/>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2" name="Title 1">
            <a:extLst>
              <a:ext uri="{FF2B5EF4-FFF2-40B4-BE49-F238E27FC236}">
                <a16:creationId xmlns:a16="http://schemas.microsoft.com/office/drawing/2014/main" id="{BC1A3F3D-2BF9-407A-B1FF-552452A2F9CA}"/>
              </a:ext>
            </a:extLst>
          </p:cNvPr>
          <p:cNvSpPr>
            <a:spLocks noGrp="1"/>
          </p:cNvSpPr>
          <p:nvPr>
            <p:ph type="title"/>
          </p:nvPr>
        </p:nvSpPr>
        <p:spPr>
          <a:xfrm>
            <a:off x="534139" y="614414"/>
            <a:ext cx="11123708" cy="886397"/>
          </a:xfrm>
        </p:spPr>
        <p:txBody>
          <a:bodyPr/>
          <a:lstStyle/>
          <a:p>
            <a:r>
              <a:rPr lang="en-US" sz="3200" dirty="0"/>
              <a:t>The Task Force has a number of critical responsibilities in its role of overseeing the use of these funds</a:t>
            </a:r>
          </a:p>
        </p:txBody>
      </p:sp>
      <p:sp>
        <p:nvSpPr>
          <p:cNvPr id="6" name="Rectangle 5">
            <a:extLst>
              <a:ext uri="{FF2B5EF4-FFF2-40B4-BE49-F238E27FC236}">
                <a16:creationId xmlns:a16="http://schemas.microsoft.com/office/drawing/2014/main" id="{6874CF77-B3A4-4039-9505-914427C6D477}"/>
              </a:ext>
            </a:extLst>
          </p:cNvPr>
          <p:cNvSpPr/>
          <p:nvPr/>
        </p:nvSpPr>
        <p:spPr>
          <a:xfrm>
            <a:off x="534139" y="1708952"/>
            <a:ext cx="4161370" cy="363984"/>
          </a:xfrm>
          <a:prstGeom prst="rect">
            <a:avLst/>
          </a:prstGeom>
          <a:solidFill>
            <a:schemeClr val="bg1"/>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Scope</a:t>
            </a:r>
          </a:p>
        </p:txBody>
      </p:sp>
      <p:sp>
        <p:nvSpPr>
          <p:cNvPr id="9" name="Text Placeholder 3">
            <a:extLst>
              <a:ext uri="{FF2B5EF4-FFF2-40B4-BE49-F238E27FC236}">
                <a16:creationId xmlns:a16="http://schemas.microsoft.com/office/drawing/2014/main" id="{25EE8779-57E3-4D78-A829-9E4231A48715}"/>
              </a:ext>
            </a:extLst>
          </p:cNvPr>
          <p:cNvSpPr txBox="1">
            <a:spLocks/>
          </p:cNvSpPr>
          <p:nvPr/>
        </p:nvSpPr>
        <p:spPr>
          <a:xfrm>
            <a:off x="534138" y="2169952"/>
            <a:ext cx="4161375" cy="3028661"/>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B7EED"/>
                </a:solidFill>
                <a:prstDash val="solid"/>
                <a:round/>
                <a:headEnd type="none" w="med" len="med"/>
                <a:tailEnd type="none" w="med" len="med"/>
              </a14:hiddenLine>
            </a:ext>
          </a:extLst>
        </p:spPr>
        <p:txBody>
          <a:bodyPr vert="horz" lIns="0" tIns="0" rIns="0" bIns="0" rtlCol="0" anchor="t">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lang="en-US" sz="2000" kern="1200">
                <a:solidFill>
                  <a:schemeClr val="tx1"/>
                </a:solidFill>
                <a:latin typeface="+mn-lt"/>
                <a:ea typeface="+mn-ea"/>
                <a:cs typeface="+mn-cs"/>
                <a:sym typeface="+mn-lt"/>
              </a:defRPr>
            </a:lvl1pPr>
            <a:lvl2pPr marL="284400" indent="-17280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2000" kern="1200">
                <a:solidFill>
                  <a:schemeClr val="tx1"/>
                </a:solidFill>
                <a:latin typeface="+mn-lt"/>
                <a:ea typeface="+mn-ea"/>
                <a:cs typeface="+mn-cs"/>
                <a:sym typeface="+mn-lt"/>
              </a:defRPr>
            </a:lvl2pPr>
            <a:lvl3pPr marL="511200" indent="-165600" algn="l" defTabSz="914400" rtl="0" eaLnBrk="1" latinLnBrk="0" hangingPunct="1">
              <a:lnSpc>
                <a:spcPct val="100000"/>
              </a:lnSpc>
              <a:spcBef>
                <a:spcPts val="0"/>
              </a:spcBef>
              <a:spcAft>
                <a:spcPts val="0"/>
              </a:spcAft>
              <a:buClr>
                <a:schemeClr val="tx2"/>
              </a:buClr>
              <a:buFont typeface="Trebuchet MS" panose="020B0603020202020204" pitchFamily="34" charset="0"/>
              <a:buChar char="–"/>
              <a:defRPr lang="en-US" sz="2000" kern="1200">
                <a:solidFill>
                  <a:schemeClr val="tx1"/>
                </a:solidFill>
                <a:latin typeface="+mn-lt"/>
                <a:ea typeface="+mn-ea"/>
                <a:cs typeface="+mn-cs"/>
                <a:sym typeface="+mn-lt"/>
              </a:defRPr>
            </a:lvl3pPr>
            <a:lvl4pPr marL="0" indent="0" algn="l" defTabSz="914400" rtl="0" eaLnBrk="1" latinLnBrk="0" hangingPunct="1">
              <a:lnSpc>
                <a:spcPct val="100000"/>
              </a:lnSpc>
              <a:spcBef>
                <a:spcPts val="0"/>
              </a:spcBef>
              <a:spcAft>
                <a:spcPts val="0"/>
              </a:spcAft>
              <a:buClr>
                <a:schemeClr val="tx2"/>
              </a:buClr>
              <a:buFont typeface="Arial" panose="020B0604020202020204" pitchFamily="34" charset="0"/>
              <a:buChar char="​"/>
              <a:defRPr lang="en-US" sz="28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0"/>
              </a:spcAft>
              <a:buClrTx/>
              <a:buFont typeface="Arial" panose="020B0604020202020204" pitchFamily="34" charset="0"/>
              <a:buChar char="​"/>
              <a:defRPr lang="en-US" sz="2800" b="1" kern="120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51934"/>
                </a:solidFill>
                <a:effectLst/>
                <a:uLnTx/>
                <a:uFillTx/>
                <a:latin typeface="Open Sans"/>
                <a:ea typeface="+mn-ea"/>
                <a:cs typeface="+mn-cs"/>
                <a:sym typeface="+mn-lt"/>
              </a:rPr>
              <a:t>All not-yet-awarded federal relief funding directed toward K-12 education</a:t>
            </a:r>
            <a:r>
              <a:rPr kumimoji="0" lang="en-US" sz="1600" b="1" i="0" u="none" strike="noStrike" kern="1200" cap="none" spc="0" normalizeH="0" baseline="30000" noProof="0" dirty="0">
                <a:ln>
                  <a:noFill/>
                </a:ln>
                <a:solidFill>
                  <a:srgbClr val="051934"/>
                </a:solidFill>
                <a:effectLst/>
                <a:uLnTx/>
                <a:uFillTx/>
                <a:latin typeface="Open Sans"/>
                <a:ea typeface="+mn-ea"/>
                <a:cs typeface="+mn-cs"/>
                <a:sym typeface="+mn-lt"/>
              </a:rPr>
              <a:t>1</a:t>
            </a:r>
            <a:r>
              <a:rPr kumimoji="0" lang="en-US" sz="1600" b="1" i="0" u="none" strike="noStrike" kern="1200" cap="none" spc="0" normalizeH="0" baseline="0" noProof="0" dirty="0">
                <a:ln>
                  <a:noFill/>
                </a:ln>
                <a:solidFill>
                  <a:srgbClr val="051934"/>
                </a:solidFill>
                <a:effectLst/>
                <a:uLnTx/>
                <a:uFillTx/>
                <a:latin typeface="Open Sans"/>
                <a:ea typeface="+mn-ea"/>
                <a:cs typeface="+mn-cs"/>
                <a:sym typeface="+mn-lt"/>
              </a:rPr>
              <a:t> </a:t>
            </a:r>
          </a:p>
          <a:p>
            <a:pPr marL="259200" marR="0" lvl="1" indent="-172800" algn="l" defTabSz="914400" rtl="0" eaLnBrk="1" fontAlgn="auto" latinLnBrk="0" hangingPunct="1">
              <a:lnSpc>
                <a:spcPct val="100000"/>
              </a:lnSpc>
              <a:spcBef>
                <a:spcPts val="0"/>
              </a:spcBef>
              <a:spcAft>
                <a:spcPts val="1200"/>
              </a:spcAft>
              <a:buClr>
                <a:srgbClr val="051934"/>
              </a:buClr>
              <a:buSzPct val="100000"/>
              <a:buFont typeface="Trebuchet MS" panose="020B0603020202020204" pitchFamily="34" charset="0"/>
              <a:buChar char="•"/>
              <a:tabLst/>
              <a:defRPr/>
            </a:pPr>
            <a:r>
              <a:rPr kumimoji="0" lang="en-US" sz="1600" b="0" i="0" u="none" strike="noStrike" kern="1200" cap="none" spc="0" normalizeH="0" baseline="0" noProof="0" dirty="0">
                <a:ln>
                  <a:noFill/>
                </a:ln>
                <a:solidFill>
                  <a:srgbClr val="051934"/>
                </a:solidFill>
                <a:effectLst/>
                <a:uLnTx/>
                <a:uFillTx/>
                <a:latin typeface="Open Sans"/>
                <a:ea typeface="+mn-ea"/>
                <a:cs typeface="+mn-cs"/>
                <a:sym typeface="+mn-lt"/>
              </a:rPr>
              <a:t>Immediate focus: EANS I and ESSR II</a:t>
            </a:r>
          </a:p>
          <a:p>
            <a:pPr marL="259200" marR="0" lvl="1" indent="-172800" algn="l" defTabSz="914400" rtl="0" eaLnBrk="1" fontAlgn="auto" latinLnBrk="0" hangingPunct="1">
              <a:lnSpc>
                <a:spcPct val="100000"/>
              </a:lnSpc>
              <a:spcBef>
                <a:spcPts val="0"/>
              </a:spcBef>
              <a:spcAft>
                <a:spcPts val="1200"/>
              </a:spcAft>
              <a:buClr>
                <a:srgbClr val="051934"/>
              </a:buClr>
              <a:buSzPct val="100000"/>
              <a:buFont typeface="Trebuchet MS" panose="020B0603020202020204" pitchFamily="34" charset="0"/>
              <a:buChar char="•"/>
              <a:tabLst/>
              <a:defRPr/>
            </a:pPr>
            <a:r>
              <a:rPr kumimoji="0" lang="en-US" sz="1600" b="0" i="0" u="none" strike="noStrike" kern="1200" cap="none" spc="0" normalizeH="0" baseline="0" noProof="0" dirty="0">
                <a:ln>
                  <a:noFill/>
                </a:ln>
                <a:solidFill>
                  <a:srgbClr val="051934"/>
                </a:solidFill>
                <a:effectLst/>
                <a:uLnTx/>
                <a:uFillTx/>
                <a:latin typeface="Open Sans"/>
                <a:ea typeface="+mn-ea"/>
                <a:cs typeface="+mn-cs"/>
                <a:sym typeface="+mn-lt"/>
              </a:rPr>
              <a:t>Will also include any subsequent COVID relief funds for K-12 (ESSER III, EANS II)</a:t>
            </a:r>
          </a:p>
          <a:p>
            <a:pPr marL="0" marR="0" lvl="0" indent="-198000" algn="l" defTabSz="914400" rtl="0" eaLnBrk="1" fontAlgn="auto" latinLnBrk="0" hangingPunct="1">
              <a:lnSpc>
                <a:spcPct val="100000"/>
              </a:lnSpc>
              <a:spcBef>
                <a:spcPts val="0"/>
              </a:spcBef>
              <a:spcAft>
                <a:spcPts val="1200"/>
              </a:spcAft>
              <a:buClr>
                <a:srgbClr val="051934"/>
              </a:buClr>
              <a:buSzPct val="100000"/>
              <a:buFont typeface="Arial" panose="020B0604020202020204" pitchFamily="34" charset="0"/>
              <a:buNone/>
              <a:tabLst/>
              <a:defRPr/>
            </a:pPr>
            <a:r>
              <a:rPr kumimoji="0" lang="en-US" sz="1600" b="1" i="0" u="none" strike="noStrike" kern="1200" cap="none" spc="0" normalizeH="0" baseline="0" noProof="0" dirty="0">
                <a:ln>
                  <a:noFill/>
                </a:ln>
                <a:solidFill>
                  <a:srgbClr val="051934"/>
                </a:solidFill>
                <a:effectLst/>
                <a:uLnTx/>
                <a:uFillTx/>
                <a:latin typeface="Open Sans"/>
                <a:ea typeface="+mn-ea"/>
                <a:cs typeface="+mn-cs"/>
                <a:sym typeface="+mn-lt"/>
              </a:rPr>
              <a:t>All Local Education Agencies (LEAs) and nonpublic K-12 schools receiving funds</a:t>
            </a:r>
          </a:p>
          <a:p>
            <a:pPr marL="0" marR="0" lvl="0" indent="-198000" algn="l" defTabSz="914400" rtl="0" eaLnBrk="1" fontAlgn="auto" latinLnBrk="0" hangingPunct="1">
              <a:lnSpc>
                <a:spcPct val="100000"/>
              </a:lnSpc>
              <a:spcBef>
                <a:spcPts val="0"/>
              </a:spcBef>
              <a:spcAft>
                <a:spcPts val="1200"/>
              </a:spcAft>
              <a:buClr>
                <a:srgbClr val="051934"/>
              </a:buClr>
              <a:buSzPct val="100000"/>
              <a:buFont typeface="Arial" panose="020B0604020202020204" pitchFamily="34" charset="0"/>
              <a:buNone/>
              <a:tabLst/>
              <a:defRPr/>
            </a:pPr>
            <a:r>
              <a:rPr kumimoji="0" lang="en-US" sz="1600" b="1" i="0" u="none" strike="noStrike" kern="1200" cap="none" spc="0" normalizeH="0" baseline="0" noProof="0" dirty="0">
                <a:ln>
                  <a:noFill/>
                </a:ln>
                <a:solidFill>
                  <a:srgbClr val="051934"/>
                </a:solidFill>
                <a:effectLst/>
                <a:uLnTx/>
                <a:uFillTx/>
                <a:latin typeface="Open Sans"/>
                <a:ea typeface="+mn-ea"/>
                <a:cs typeface="+mn-cs"/>
                <a:sym typeface="+mn-lt"/>
              </a:rPr>
              <a:t>Task Force recommendations will be delivered to State Board of Education for final approval</a:t>
            </a:r>
          </a:p>
        </p:txBody>
      </p:sp>
      <p:sp>
        <p:nvSpPr>
          <p:cNvPr id="10" name="Rectangle 9">
            <a:extLst>
              <a:ext uri="{FF2B5EF4-FFF2-40B4-BE49-F238E27FC236}">
                <a16:creationId xmlns:a16="http://schemas.microsoft.com/office/drawing/2014/main" id="{AE2781BD-A711-4EAE-9CF0-CC8969E803C5}"/>
              </a:ext>
            </a:extLst>
          </p:cNvPr>
          <p:cNvSpPr/>
          <p:nvPr/>
        </p:nvSpPr>
        <p:spPr>
          <a:xfrm>
            <a:off x="5655077" y="2230145"/>
            <a:ext cx="6002782" cy="3785652"/>
          </a:xfrm>
          <a:prstGeom prst="rect">
            <a:avLst/>
          </a:prstGeom>
        </p:spPr>
        <p:txBody>
          <a:bodyPr wrap="square">
            <a:spAutoFit/>
          </a:bodyPr>
          <a:lstStyle/>
          <a:p>
            <a:pPr marL="86400" marR="0" lvl="1" indent="0" algn="l" defTabSz="914400" rtl="0" eaLnBrk="1" fontAlgn="auto" latinLnBrk="0" hangingPunct="1">
              <a:lnSpc>
                <a:spcPct val="100000"/>
              </a:lnSpc>
              <a:spcBef>
                <a:spcPts val="0"/>
              </a:spcBef>
              <a:spcAft>
                <a:spcPts val="1800"/>
              </a:spcAft>
              <a:buClr>
                <a:srgbClr val="051934"/>
              </a:buClr>
              <a:buSzPct val="100000"/>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mn-ea"/>
                <a:cs typeface="+mn-cs"/>
              </a:rPr>
              <a:t>Review and recommend approval of LEA plans</a:t>
            </a:r>
          </a:p>
          <a:p>
            <a:pPr marL="86400" marR="0" lvl="1" indent="0" algn="l" defTabSz="914400" rtl="0" eaLnBrk="1" fontAlgn="auto" latinLnBrk="0" hangingPunct="1">
              <a:lnSpc>
                <a:spcPct val="100000"/>
              </a:lnSpc>
              <a:spcBef>
                <a:spcPts val="0"/>
              </a:spcBef>
              <a:spcAft>
                <a:spcPts val="1800"/>
              </a:spcAft>
              <a:buClr>
                <a:srgbClr val="051934"/>
              </a:buClr>
              <a:buSzPct val="100000"/>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mn-ea"/>
                <a:cs typeface="+mn-cs"/>
              </a:rPr>
              <a:t>Recommend allocation approach for non-public school requests for fixed pool of funds</a:t>
            </a:r>
          </a:p>
          <a:p>
            <a:pPr marL="86400" marR="0" lvl="1" indent="0" algn="l" defTabSz="914400" rtl="0" eaLnBrk="1" fontAlgn="auto" latinLnBrk="0" hangingPunct="1">
              <a:lnSpc>
                <a:spcPct val="100000"/>
              </a:lnSpc>
              <a:spcBef>
                <a:spcPts val="0"/>
              </a:spcBef>
              <a:spcAft>
                <a:spcPts val="1800"/>
              </a:spcAft>
              <a:buClr>
                <a:srgbClr val="051934"/>
              </a:buClr>
              <a:buSzPct val="100000"/>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mn-ea"/>
                <a:cs typeface="+mn-cs"/>
              </a:rPr>
              <a:t>Review and recommend approval of non-public school plans based on prioritization criteria</a:t>
            </a:r>
          </a:p>
          <a:p>
            <a:pPr marL="86400" marR="0" lvl="1" indent="0" algn="l" defTabSz="914400" rtl="0" eaLnBrk="1" fontAlgn="auto" latinLnBrk="0" hangingPunct="1">
              <a:lnSpc>
                <a:spcPct val="100000"/>
              </a:lnSpc>
              <a:spcBef>
                <a:spcPts val="0"/>
              </a:spcBef>
              <a:spcAft>
                <a:spcPts val="1800"/>
              </a:spcAft>
              <a:buClr>
                <a:srgbClr val="051934"/>
              </a:buClr>
              <a:buSzPct val="100000"/>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mn-ea"/>
                <a:cs typeface="+mn-cs"/>
              </a:rPr>
              <a:t>Review regular reporting on program spending and outcomes</a:t>
            </a:r>
          </a:p>
          <a:p>
            <a:pPr marL="86400" marR="0" lvl="1" indent="0" algn="l" defTabSz="914400" rtl="0" eaLnBrk="1" fontAlgn="auto" latinLnBrk="0" hangingPunct="1">
              <a:lnSpc>
                <a:spcPct val="100000"/>
              </a:lnSpc>
              <a:spcBef>
                <a:spcPts val="0"/>
              </a:spcBef>
              <a:spcAft>
                <a:spcPts val="1800"/>
              </a:spcAft>
              <a:buClr>
                <a:srgbClr val="051934"/>
              </a:buClr>
              <a:buSzPct val="100000"/>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mn-ea"/>
                <a:cs typeface="+mn-cs"/>
              </a:rPr>
              <a:t>Review and recommend approval of requests to modify spending plans</a:t>
            </a:r>
          </a:p>
        </p:txBody>
      </p:sp>
      <p:sp>
        <p:nvSpPr>
          <p:cNvPr id="11" name="Rectangle 10">
            <a:extLst>
              <a:ext uri="{FF2B5EF4-FFF2-40B4-BE49-F238E27FC236}">
                <a16:creationId xmlns:a16="http://schemas.microsoft.com/office/drawing/2014/main" id="{C3DE54CD-D787-43DB-9574-2BD4A54A2265}"/>
              </a:ext>
            </a:extLst>
          </p:cNvPr>
          <p:cNvSpPr/>
          <p:nvPr/>
        </p:nvSpPr>
        <p:spPr>
          <a:xfrm>
            <a:off x="5175682" y="1708952"/>
            <a:ext cx="6482178" cy="363984"/>
          </a:xfrm>
          <a:prstGeom prst="rect">
            <a:avLst/>
          </a:prstGeom>
          <a:solidFill>
            <a:schemeClr val="bg1"/>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Responsibilities</a:t>
            </a:r>
          </a:p>
        </p:txBody>
      </p:sp>
      <p:grpSp>
        <p:nvGrpSpPr>
          <p:cNvPr id="14" name="Group 13">
            <a:extLst>
              <a:ext uri="{FF2B5EF4-FFF2-40B4-BE49-F238E27FC236}">
                <a16:creationId xmlns:a16="http://schemas.microsoft.com/office/drawing/2014/main" id="{CD4E2A13-ECDD-4F7C-B0F0-9FA62A387BFE}"/>
              </a:ext>
            </a:extLst>
          </p:cNvPr>
          <p:cNvGrpSpPr>
            <a:grpSpLocks noChangeAspect="1"/>
          </p:cNvGrpSpPr>
          <p:nvPr/>
        </p:nvGrpSpPr>
        <p:grpSpPr>
          <a:xfrm>
            <a:off x="5175682" y="2123586"/>
            <a:ext cx="608707" cy="608120"/>
            <a:chOff x="5273675" y="2606675"/>
            <a:chExt cx="1646238" cy="1644650"/>
          </a:xfrm>
        </p:grpSpPr>
        <p:sp>
          <p:nvSpPr>
            <p:cNvPr id="15" name="AutoShape 3">
              <a:extLst>
                <a:ext uri="{FF2B5EF4-FFF2-40B4-BE49-F238E27FC236}">
                  <a16:creationId xmlns:a16="http://schemas.microsoft.com/office/drawing/2014/main" id="{6863077E-C5D8-4737-A8A6-E8B44B183AD2}"/>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nvGrpSpPr>
            <p:cNvPr id="16" name="Group 15">
              <a:extLst>
                <a:ext uri="{FF2B5EF4-FFF2-40B4-BE49-F238E27FC236}">
                  <a16:creationId xmlns:a16="http://schemas.microsoft.com/office/drawing/2014/main" id="{C4E854A6-9596-4D90-8316-7AF9F8E95961}"/>
                </a:ext>
              </a:extLst>
            </p:cNvPr>
            <p:cNvGrpSpPr/>
            <p:nvPr/>
          </p:nvGrpSpPr>
          <p:grpSpPr>
            <a:xfrm>
              <a:off x="5646738" y="2774950"/>
              <a:ext cx="999551" cy="1346201"/>
              <a:chOff x="5646738" y="2774950"/>
              <a:chExt cx="999551" cy="1346201"/>
            </a:xfrm>
          </p:grpSpPr>
          <p:sp>
            <p:nvSpPr>
              <p:cNvPr id="17" name="Freeform 26">
                <a:extLst>
                  <a:ext uri="{FF2B5EF4-FFF2-40B4-BE49-F238E27FC236}">
                    <a16:creationId xmlns:a16="http://schemas.microsoft.com/office/drawing/2014/main" id="{6F1AF01F-36D2-4633-8570-1182BC22A6CA}"/>
                  </a:ext>
                </a:extLst>
              </p:cNvPr>
              <p:cNvSpPr>
                <a:spLocks/>
              </p:cNvSpPr>
              <p:nvPr/>
            </p:nvSpPr>
            <p:spPr bwMode="auto">
              <a:xfrm>
                <a:off x="5646738" y="2889250"/>
                <a:ext cx="898525" cy="1192213"/>
              </a:xfrm>
              <a:custGeom>
                <a:avLst/>
                <a:gdLst>
                  <a:gd name="connsiteX0" fmla="*/ 625475 w 898525"/>
                  <a:gd name="connsiteY0" fmla="*/ 0 h 1192213"/>
                  <a:gd name="connsiteX1" fmla="*/ 882800 w 898525"/>
                  <a:gd name="connsiteY1" fmla="*/ 0 h 1192213"/>
                  <a:gd name="connsiteX2" fmla="*/ 898525 w 898525"/>
                  <a:gd name="connsiteY2" fmla="*/ 15701 h 1192213"/>
                  <a:gd name="connsiteX3" fmla="*/ 898525 w 898525"/>
                  <a:gd name="connsiteY3" fmla="*/ 835025 h 1192213"/>
                  <a:gd name="connsiteX4" fmla="*/ 867074 w 898525"/>
                  <a:gd name="connsiteY4" fmla="*/ 823606 h 1192213"/>
                  <a:gd name="connsiteX5" fmla="*/ 867074 w 898525"/>
                  <a:gd name="connsiteY5" fmla="*/ 31403 h 1192213"/>
                  <a:gd name="connsiteX6" fmla="*/ 625475 w 898525"/>
                  <a:gd name="connsiteY6" fmla="*/ 31403 h 1192213"/>
                  <a:gd name="connsiteX7" fmla="*/ 625475 w 898525"/>
                  <a:gd name="connsiteY7" fmla="*/ 0 h 1192213"/>
                  <a:gd name="connsiteX8" fmla="*/ 15734 w 898525"/>
                  <a:gd name="connsiteY8" fmla="*/ 0 h 1192213"/>
                  <a:gd name="connsiteX9" fmla="*/ 273195 w 898525"/>
                  <a:gd name="connsiteY9" fmla="*/ 0 h 1192213"/>
                  <a:gd name="connsiteX10" fmla="*/ 273195 w 898525"/>
                  <a:gd name="connsiteY10" fmla="*/ 31412 h 1192213"/>
                  <a:gd name="connsiteX11" fmla="*/ 31468 w 898525"/>
                  <a:gd name="connsiteY11" fmla="*/ 31412 h 1192213"/>
                  <a:gd name="connsiteX12" fmla="*/ 31468 w 898525"/>
                  <a:gd name="connsiteY12" fmla="*/ 1160802 h 1192213"/>
                  <a:gd name="connsiteX13" fmla="*/ 618622 w 898525"/>
                  <a:gd name="connsiteY13" fmla="*/ 1160802 h 1192213"/>
                  <a:gd name="connsiteX14" fmla="*/ 642938 w 898525"/>
                  <a:gd name="connsiteY14" fmla="*/ 1192213 h 1192213"/>
                  <a:gd name="connsiteX15" fmla="*/ 15734 w 898525"/>
                  <a:gd name="connsiteY15" fmla="*/ 1192213 h 1192213"/>
                  <a:gd name="connsiteX16" fmla="*/ 0 w 898525"/>
                  <a:gd name="connsiteY16" fmla="*/ 1176507 h 1192213"/>
                  <a:gd name="connsiteX17" fmla="*/ 0 w 898525"/>
                  <a:gd name="connsiteY17" fmla="*/ 15706 h 1192213"/>
                  <a:gd name="connsiteX18" fmla="*/ 15734 w 898525"/>
                  <a:gd name="connsiteY18"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8525" h="1192213">
                    <a:moveTo>
                      <a:pt x="625475" y="0"/>
                    </a:moveTo>
                    <a:cubicBezTo>
                      <a:pt x="625475" y="0"/>
                      <a:pt x="625475" y="0"/>
                      <a:pt x="882800" y="0"/>
                    </a:cubicBezTo>
                    <a:cubicBezTo>
                      <a:pt x="892092" y="0"/>
                      <a:pt x="898525" y="7137"/>
                      <a:pt x="898525" y="15701"/>
                    </a:cubicBezTo>
                    <a:cubicBezTo>
                      <a:pt x="898525" y="15701"/>
                      <a:pt x="898525" y="15701"/>
                      <a:pt x="898525" y="835025"/>
                    </a:cubicBezTo>
                    <a:cubicBezTo>
                      <a:pt x="888518" y="830743"/>
                      <a:pt x="878511" y="826461"/>
                      <a:pt x="867074" y="823606"/>
                    </a:cubicBezTo>
                    <a:cubicBezTo>
                      <a:pt x="867074" y="823606"/>
                      <a:pt x="867074" y="823606"/>
                      <a:pt x="867074" y="31403"/>
                    </a:cubicBezTo>
                    <a:cubicBezTo>
                      <a:pt x="867074" y="31403"/>
                      <a:pt x="867074" y="31403"/>
                      <a:pt x="625475" y="31403"/>
                    </a:cubicBezTo>
                    <a:cubicBezTo>
                      <a:pt x="625475" y="31403"/>
                      <a:pt x="625475" y="31403"/>
                      <a:pt x="625475" y="0"/>
                    </a:cubicBezTo>
                    <a:close/>
                    <a:moveTo>
                      <a:pt x="15734" y="0"/>
                    </a:moveTo>
                    <a:cubicBezTo>
                      <a:pt x="15734" y="0"/>
                      <a:pt x="15734" y="0"/>
                      <a:pt x="273195" y="0"/>
                    </a:cubicBezTo>
                    <a:cubicBezTo>
                      <a:pt x="273195" y="0"/>
                      <a:pt x="273195" y="0"/>
                      <a:pt x="273195" y="31412"/>
                    </a:cubicBezTo>
                    <a:cubicBezTo>
                      <a:pt x="273195" y="31412"/>
                      <a:pt x="273195" y="31412"/>
                      <a:pt x="31468" y="31412"/>
                    </a:cubicBezTo>
                    <a:cubicBezTo>
                      <a:pt x="31468" y="31412"/>
                      <a:pt x="31468" y="31412"/>
                      <a:pt x="31468" y="1160802"/>
                    </a:cubicBezTo>
                    <a:cubicBezTo>
                      <a:pt x="31468" y="1160802"/>
                      <a:pt x="31468" y="1160802"/>
                      <a:pt x="618622" y="1160802"/>
                    </a:cubicBezTo>
                    <a:cubicBezTo>
                      <a:pt x="625774" y="1172224"/>
                      <a:pt x="633641" y="1182932"/>
                      <a:pt x="642938" y="1192213"/>
                    </a:cubicBezTo>
                    <a:cubicBezTo>
                      <a:pt x="642938" y="1192213"/>
                      <a:pt x="642938" y="1192213"/>
                      <a:pt x="15734" y="1192213"/>
                    </a:cubicBezTo>
                    <a:cubicBezTo>
                      <a:pt x="6437" y="1192213"/>
                      <a:pt x="0" y="1185788"/>
                      <a:pt x="0" y="1176507"/>
                    </a:cubicBezTo>
                    <a:cubicBezTo>
                      <a:pt x="0" y="1176507"/>
                      <a:pt x="0" y="1176507"/>
                      <a:pt x="0" y="15706"/>
                    </a:cubicBezTo>
                    <a:cubicBezTo>
                      <a:pt x="0" y="7139"/>
                      <a:pt x="6437" y="0"/>
                      <a:pt x="15734" y="0"/>
                    </a:cubicBezTo>
                    <a:close/>
                  </a:path>
                </a:pathLst>
              </a:custGeom>
              <a:solidFill>
                <a:srgbClr val="071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18" name="Freeform 25">
                <a:extLst>
                  <a:ext uri="{FF2B5EF4-FFF2-40B4-BE49-F238E27FC236}">
                    <a16:creationId xmlns:a16="http://schemas.microsoft.com/office/drawing/2014/main" id="{9FFF12A4-A558-4318-858F-E49210B7E9C7}"/>
                  </a:ext>
                </a:extLst>
              </p:cNvPr>
              <p:cNvSpPr>
                <a:spLocks/>
              </p:cNvSpPr>
              <p:nvPr/>
            </p:nvSpPr>
            <p:spPr bwMode="auto">
              <a:xfrm>
                <a:off x="5783263" y="2774950"/>
                <a:ext cx="863026" cy="1346201"/>
              </a:xfrm>
              <a:custGeom>
                <a:avLst/>
                <a:gdLst>
                  <a:gd name="connsiteX0" fmla="*/ 789902 w 863026"/>
                  <a:gd name="connsiteY0" fmla="*/ 1074664 h 1346201"/>
                  <a:gd name="connsiteX1" fmla="*/ 778541 w 863026"/>
                  <a:gd name="connsiteY1" fmla="*/ 1078848 h 1346201"/>
                  <a:gd name="connsiteX2" fmla="*/ 762082 w 863026"/>
                  <a:gd name="connsiteY2" fmla="*/ 1094518 h 1346201"/>
                  <a:gd name="connsiteX3" fmla="*/ 730596 w 863026"/>
                  <a:gd name="connsiteY3" fmla="*/ 1124433 h 1346201"/>
                  <a:gd name="connsiteX4" fmla="*/ 627548 w 863026"/>
                  <a:gd name="connsiteY4" fmla="*/ 1223437 h 1346201"/>
                  <a:gd name="connsiteX5" fmla="*/ 558850 w 863026"/>
                  <a:gd name="connsiteY5" fmla="*/ 1155060 h 1346201"/>
                  <a:gd name="connsiteX6" fmla="*/ 536666 w 863026"/>
                  <a:gd name="connsiteY6" fmla="*/ 1155060 h 1346201"/>
                  <a:gd name="connsiteX7" fmla="*/ 536666 w 863026"/>
                  <a:gd name="connsiteY7" fmla="*/ 1177140 h 1346201"/>
                  <a:gd name="connsiteX8" fmla="*/ 616098 w 863026"/>
                  <a:gd name="connsiteY8" fmla="*/ 1256202 h 1346201"/>
                  <a:gd name="connsiteX9" fmla="*/ 626832 w 863026"/>
                  <a:gd name="connsiteY9" fmla="*/ 1260475 h 1346201"/>
                  <a:gd name="connsiteX10" fmla="*/ 637567 w 863026"/>
                  <a:gd name="connsiteY10" fmla="*/ 1256202 h 1346201"/>
                  <a:gd name="connsiteX11" fmla="*/ 730596 w 863026"/>
                  <a:gd name="connsiteY11" fmla="*/ 1167881 h 1346201"/>
                  <a:gd name="connsiteX12" fmla="*/ 762082 w 863026"/>
                  <a:gd name="connsiteY12" fmla="*/ 1137966 h 1346201"/>
                  <a:gd name="connsiteX13" fmla="*/ 800010 w 863026"/>
                  <a:gd name="connsiteY13" fmla="*/ 1101641 h 1346201"/>
                  <a:gd name="connsiteX14" fmla="*/ 800725 w 863026"/>
                  <a:gd name="connsiteY14" fmla="*/ 1079560 h 1346201"/>
                  <a:gd name="connsiteX15" fmla="*/ 789902 w 863026"/>
                  <a:gd name="connsiteY15" fmla="*/ 1074664 h 1346201"/>
                  <a:gd name="connsiteX16" fmla="*/ 15705 w 863026"/>
                  <a:gd name="connsiteY16" fmla="*/ 1057275 h 1346201"/>
                  <a:gd name="connsiteX17" fmla="*/ 468313 w 863026"/>
                  <a:gd name="connsiteY17" fmla="*/ 1057275 h 1346201"/>
                  <a:gd name="connsiteX18" fmla="*/ 456177 w 863026"/>
                  <a:gd name="connsiteY18" fmla="*/ 1089025 h 1346201"/>
                  <a:gd name="connsiteX19" fmla="*/ 15705 w 863026"/>
                  <a:gd name="connsiteY19" fmla="*/ 1089025 h 1346201"/>
                  <a:gd name="connsiteX20" fmla="*/ 0 w 863026"/>
                  <a:gd name="connsiteY20" fmla="*/ 1073150 h 1346201"/>
                  <a:gd name="connsiteX21" fmla="*/ 15705 w 863026"/>
                  <a:gd name="connsiteY21" fmla="*/ 1057275 h 1346201"/>
                  <a:gd name="connsiteX22" fmla="*/ 670322 w 863026"/>
                  <a:gd name="connsiteY22" fmla="*/ 960438 h 1346201"/>
                  <a:gd name="connsiteX23" fmla="*/ 731044 w 863026"/>
                  <a:gd name="connsiteY23" fmla="*/ 970439 h 1346201"/>
                  <a:gd name="connsiteX24" fmla="*/ 762477 w 863026"/>
                  <a:gd name="connsiteY24" fmla="*/ 984013 h 1346201"/>
                  <a:gd name="connsiteX25" fmla="*/ 808911 w 863026"/>
                  <a:gd name="connsiteY25" fmla="*/ 1019731 h 1346201"/>
                  <a:gd name="connsiteX26" fmla="*/ 820341 w 863026"/>
                  <a:gd name="connsiteY26" fmla="*/ 1274764 h 1346201"/>
                  <a:gd name="connsiteX27" fmla="*/ 803911 w 863026"/>
                  <a:gd name="connsiteY27" fmla="*/ 1292623 h 1346201"/>
                  <a:gd name="connsiteX28" fmla="*/ 788194 w 863026"/>
                  <a:gd name="connsiteY28" fmla="*/ 1306196 h 1346201"/>
                  <a:gd name="connsiteX29" fmla="*/ 787480 w 863026"/>
                  <a:gd name="connsiteY29" fmla="*/ 1306196 h 1346201"/>
                  <a:gd name="connsiteX30" fmla="*/ 670322 w 863026"/>
                  <a:gd name="connsiteY30" fmla="*/ 1346201 h 1346201"/>
                  <a:gd name="connsiteX31" fmla="*/ 552450 w 863026"/>
                  <a:gd name="connsiteY31" fmla="*/ 1306196 h 1346201"/>
                  <a:gd name="connsiteX32" fmla="*/ 531019 w 863026"/>
                  <a:gd name="connsiteY32" fmla="*/ 1287622 h 1346201"/>
                  <a:gd name="connsiteX33" fmla="*/ 520303 w 863026"/>
                  <a:gd name="connsiteY33" fmla="*/ 1274764 h 1346201"/>
                  <a:gd name="connsiteX34" fmla="*/ 488871 w 863026"/>
                  <a:gd name="connsiteY34" fmla="*/ 1088311 h 1346201"/>
                  <a:gd name="connsiteX35" fmla="*/ 503158 w 863026"/>
                  <a:gd name="connsiteY35" fmla="*/ 1056879 h 1346201"/>
                  <a:gd name="connsiteX36" fmla="*/ 536734 w 863026"/>
                  <a:gd name="connsiteY36" fmla="*/ 1014731 h 1346201"/>
                  <a:gd name="connsiteX37" fmla="*/ 603885 w 863026"/>
                  <a:gd name="connsiteY37" fmla="*/ 972583 h 1346201"/>
                  <a:gd name="connsiteX38" fmla="*/ 623888 w 863026"/>
                  <a:gd name="connsiteY38" fmla="*/ 966153 h 1346201"/>
                  <a:gd name="connsiteX39" fmla="*/ 670322 w 863026"/>
                  <a:gd name="connsiteY39" fmla="*/ 960438 h 1346201"/>
                  <a:gd name="connsiteX40" fmla="*/ 15693 w 863026"/>
                  <a:gd name="connsiteY40" fmla="*/ 941388 h 1346201"/>
                  <a:gd name="connsiteX41" fmla="*/ 598488 w 863026"/>
                  <a:gd name="connsiteY41" fmla="*/ 941388 h 1346201"/>
                  <a:gd name="connsiteX42" fmla="*/ 537855 w 863026"/>
                  <a:gd name="connsiteY42" fmla="*/ 973138 h 1346201"/>
                  <a:gd name="connsiteX43" fmla="*/ 15693 w 863026"/>
                  <a:gd name="connsiteY43" fmla="*/ 973138 h 1346201"/>
                  <a:gd name="connsiteX44" fmla="*/ 0 w 863026"/>
                  <a:gd name="connsiteY44" fmla="*/ 957263 h 1346201"/>
                  <a:gd name="connsiteX45" fmla="*/ 15693 w 863026"/>
                  <a:gd name="connsiteY45" fmla="*/ 941388 h 1346201"/>
                  <a:gd name="connsiteX46" fmla="*/ 15712 w 863026"/>
                  <a:gd name="connsiteY46" fmla="*/ 825500 h 1346201"/>
                  <a:gd name="connsiteX47" fmla="*/ 611351 w 863026"/>
                  <a:gd name="connsiteY47" fmla="*/ 825500 h 1346201"/>
                  <a:gd name="connsiteX48" fmla="*/ 627063 w 863026"/>
                  <a:gd name="connsiteY48" fmla="*/ 841375 h 1346201"/>
                  <a:gd name="connsiteX49" fmla="*/ 611351 w 863026"/>
                  <a:gd name="connsiteY49" fmla="*/ 857250 h 1346201"/>
                  <a:gd name="connsiteX50" fmla="*/ 15712 w 863026"/>
                  <a:gd name="connsiteY50" fmla="*/ 857250 h 1346201"/>
                  <a:gd name="connsiteX51" fmla="*/ 0 w 863026"/>
                  <a:gd name="connsiteY51" fmla="*/ 841375 h 1346201"/>
                  <a:gd name="connsiteX52" fmla="*/ 15712 w 863026"/>
                  <a:gd name="connsiteY52" fmla="*/ 825500 h 1346201"/>
                  <a:gd name="connsiteX53" fmla="*/ 15712 w 863026"/>
                  <a:gd name="connsiteY53" fmla="*/ 709613 h 1346201"/>
                  <a:gd name="connsiteX54" fmla="*/ 611351 w 863026"/>
                  <a:gd name="connsiteY54" fmla="*/ 709613 h 1346201"/>
                  <a:gd name="connsiteX55" fmla="*/ 627063 w 863026"/>
                  <a:gd name="connsiteY55" fmla="*/ 725488 h 1346201"/>
                  <a:gd name="connsiteX56" fmla="*/ 611351 w 863026"/>
                  <a:gd name="connsiteY56" fmla="*/ 741363 h 1346201"/>
                  <a:gd name="connsiteX57" fmla="*/ 15712 w 863026"/>
                  <a:gd name="connsiteY57" fmla="*/ 741363 h 1346201"/>
                  <a:gd name="connsiteX58" fmla="*/ 0 w 863026"/>
                  <a:gd name="connsiteY58" fmla="*/ 725488 h 1346201"/>
                  <a:gd name="connsiteX59" fmla="*/ 15712 w 863026"/>
                  <a:gd name="connsiteY59" fmla="*/ 709613 h 1346201"/>
                  <a:gd name="connsiteX60" fmla="*/ 15712 w 863026"/>
                  <a:gd name="connsiteY60" fmla="*/ 593725 h 1346201"/>
                  <a:gd name="connsiteX61" fmla="*/ 611351 w 863026"/>
                  <a:gd name="connsiteY61" fmla="*/ 593725 h 1346201"/>
                  <a:gd name="connsiteX62" fmla="*/ 627063 w 863026"/>
                  <a:gd name="connsiteY62" fmla="*/ 609600 h 1346201"/>
                  <a:gd name="connsiteX63" fmla="*/ 611351 w 863026"/>
                  <a:gd name="connsiteY63" fmla="*/ 625475 h 1346201"/>
                  <a:gd name="connsiteX64" fmla="*/ 15712 w 863026"/>
                  <a:gd name="connsiteY64" fmla="*/ 625475 h 1346201"/>
                  <a:gd name="connsiteX65" fmla="*/ 0 w 863026"/>
                  <a:gd name="connsiteY65" fmla="*/ 609600 h 1346201"/>
                  <a:gd name="connsiteX66" fmla="*/ 15712 w 863026"/>
                  <a:gd name="connsiteY66" fmla="*/ 593725 h 1346201"/>
                  <a:gd name="connsiteX67" fmla="*/ 15712 w 863026"/>
                  <a:gd name="connsiteY67" fmla="*/ 477838 h 1346201"/>
                  <a:gd name="connsiteX68" fmla="*/ 611351 w 863026"/>
                  <a:gd name="connsiteY68" fmla="*/ 477838 h 1346201"/>
                  <a:gd name="connsiteX69" fmla="*/ 627063 w 863026"/>
                  <a:gd name="connsiteY69" fmla="*/ 493713 h 1346201"/>
                  <a:gd name="connsiteX70" fmla="*/ 611351 w 863026"/>
                  <a:gd name="connsiteY70" fmla="*/ 509588 h 1346201"/>
                  <a:gd name="connsiteX71" fmla="*/ 15712 w 863026"/>
                  <a:gd name="connsiteY71" fmla="*/ 509588 h 1346201"/>
                  <a:gd name="connsiteX72" fmla="*/ 0 w 863026"/>
                  <a:gd name="connsiteY72" fmla="*/ 493713 h 1346201"/>
                  <a:gd name="connsiteX73" fmla="*/ 15712 w 863026"/>
                  <a:gd name="connsiteY73" fmla="*/ 477838 h 1346201"/>
                  <a:gd name="connsiteX74" fmla="*/ 15712 w 863026"/>
                  <a:gd name="connsiteY74" fmla="*/ 361950 h 1346201"/>
                  <a:gd name="connsiteX75" fmla="*/ 611351 w 863026"/>
                  <a:gd name="connsiteY75" fmla="*/ 361950 h 1346201"/>
                  <a:gd name="connsiteX76" fmla="*/ 627063 w 863026"/>
                  <a:gd name="connsiteY76" fmla="*/ 377825 h 1346201"/>
                  <a:gd name="connsiteX77" fmla="*/ 611351 w 863026"/>
                  <a:gd name="connsiteY77" fmla="*/ 393700 h 1346201"/>
                  <a:gd name="connsiteX78" fmla="*/ 15712 w 863026"/>
                  <a:gd name="connsiteY78" fmla="*/ 393700 h 1346201"/>
                  <a:gd name="connsiteX79" fmla="*/ 0 w 863026"/>
                  <a:gd name="connsiteY79" fmla="*/ 377825 h 1346201"/>
                  <a:gd name="connsiteX80" fmla="*/ 15712 w 863026"/>
                  <a:gd name="connsiteY80" fmla="*/ 361950 h 1346201"/>
                  <a:gd name="connsiteX81" fmla="*/ 312738 w 863026"/>
                  <a:gd name="connsiteY81" fmla="*/ 31750 h 1346201"/>
                  <a:gd name="connsiteX82" fmla="*/ 290655 w 863026"/>
                  <a:gd name="connsiteY82" fmla="*/ 35314 h 1346201"/>
                  <a:gd name="connsiteX83" fmla="*/ 257175 w 863026"/>
                  <a:gd name="connsiteY83" fmla="*/ 66675 h 1346201"/>
                  <a:gd name="connsiteX84" fmla="*/ 368300 w 863026"/>
                  <a:gd name="connsiteY84" fmla="*/ 66675 h 1346201"/>
                  <a:gd name="connsiteX85" fmla="*/ 334820 w 863026"/>
                  <a:gd name="connsiteY85" fmla="*/ 35314 h 1346201"/>
                  <a:gd name="connsiteX86" fmla="*/ 312738 w 863026"/>
                  <a:gd name="connsiteY86" fmla="*/ 31750 h 1346201"/>
                  <a:gd name="connsiteX87" fmla="*/ 312737 w 863026"/>
                  <a:gd name="connsiteY87" fmla="*/ 0 h 1346201"/>
                  <a:gd name="connsiteX88" fmla="*/ 385762 w 863026"/>
                  <a:gd name="connsiteY88" fmla="*/ 34890 h 1346201"/>
                  <a:gd name="connsiteX89" fmla="*/ 402229 w 863026"/>
                  <a:gd name="connsiteY89" fmla="*/ 66220 h 1346201"/>
                  <a:gd name="connsiteX90" fmla="*/ 451628 w 863026"/>
                  <a:gd name="connsiteY90" fmla="*/ 66220 h 1346201"/>
                  <a:gd name="connsiteX91" fmla="*/ 458787 w 863026"/>
                  <a:gd name="connsiteY91" fmla="*/ 73340 h 1346201"/>
                  <a:gd name="connsiteX92" fmla="*/ 458787 w 863026"/>
                  <a:gd name="connsiteY92" fmla="*/ 113927 h 1346201"/>
                  <a:gd name="connsiteX93" fmla="*/ 458787 w 863026"/>
                  <a:gd name="connsiteY93" fmla="*/ 145256 h 1346201"/>
                  <a:gd name="connsiteX94" fmla="*/ 458787 w 863026"/>
                  <a:gd name="connsiteY94" fmla="*/ 178010 h 1346201"/>
                  <a:gd name="connsiteX95" fmla="*/ 443037 w 863026"/>
                  <a:gd name="connsiteY95" fmla="*/ 193675 h 1346201"/>
                  <a:gd name="connsiteX96" fmla="*/ 182438 w 863026"/>
                  <a:gd name="connsiteY96" fmla="*/ 193675 h 1346201"/>
                  <a:gd name="connsiteX97" fmla="*/ 166687 w 863026"/>
                  <a:gd name="connsiteY97" fmla="*/ 178010 h 1346201"/>
                  <a:gd name="connsiteX98" fmla="*/ 166687 w 863026"/>
                  <a:gd name="connsiteY98" fmla="*/ 145256 h 1346201"/>
                  <a:gd name="connsiteX99" fmla="*/ 166687 w 863026"/>
                  <a:gd name="connsiteY99" fmla="*/ 113927 h 1346201"/>
                  <a:gd name="connsiteX100" fmla="*/ 166687 w 863026"/>
                  <a:gd name="connsiteY100" fmla="*/ 73340 h 1346201"/>
                  <a:gd name="connsiteX101" fmla="*/ 173847 w 863026"/>
                  <a:gd name="connsiteY101" fmla="*/ 66220 h 1346201"/>
                  <a:gd name="connsiteX102" fmla="*/ 223246 w 863026"/>
                  <a:gd name="connsiteY102" fmla="*/ 66220 h 1346201"/>
                  <a:gd name="connsiteX103" fmla="*/ 239712 w 863026"/>
                  <a:gd name="connsiteY103" fmla="*/ 34890 h 1346201"/>
                  <a:gd name="connsiteX104" fmla="*/ 312737 w 863026"/>
                  <a:gd name="connsiteY104" fmla="*/ 0 h 134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863026" h="1346201">
                    <a:moveTo>
                      <a:pt x="789902" y="1074664"/>
                    </a:moveTo>
                    <a:cubicBezTo>
                      <a:pt x="785876" y="1074575"/>
                      <a:pt x="781761" y="1075999"/>
                      <a:pt x="778541" y="1078848"/>
                    </a:cubicBezTo>
                    <a:cubicBezTo>
                      <a:pt x="778541" y="1078848"/>
                      <a:pt x="778541" y="1078848"/>
                      <a:pt x="762082" y="1094518"/>
                    </a:cubicBezTo>
                    <a:cubicBezTo>
                      <a:pt x="762082" y="1094518"/>
                      <a:pt x="762082" y="1094518"/>
                      <a:pt x="730596" y="1124433"/>
                    </a:cubicBezTo>
                    <a:cubicBezTo>
                      <a:pt x="730596" y="1124433"/>
                      <a:pt x="730596" y="1124433"/>
                      <a:pt x="627548" y="1223437"/>
                    </a:cubicBezTo>
                    <a:cubicBezTo>
                      <a:pt x="627548" y="1223437"/>
                      <a:pt x="627548" y="1223437"/>
                      <a:pt x="558850" y="1155060"/>
                    </a:cubicBezTo>
                    <a:cubicBezTo>
                      <a:pt x="552409" y="1148650"/>
                      <a:pt x="542391" y="1148650"/>
                      <a:pt x="536666" y="1155060"/>
                    </a:cubicBezTo>
                    <a:cubicBezTo>
                      <a:pt x="530225" y="1160758"/>
                      <a:pt x="530225" y="1170730"/>
                      <a:pt x="536666" y="1177140"/>
                    </a:cubicBezTo>
                    <a:cubicBezTo>
                      <a:pt x="536666" y="1177140"/>
                      <a:pt x="536666" y="1177140"/>
                      <a:pt x="616098" y="1256202"/>
                    </a:cubicBezTo>
                    <a:cubicBezTo>
                      <a:pt x="618961" y="1259051"/>
                      <a:pt x="623254" y="1260475"/>
                      <a:pt x="626832" y="1260475"/>
                    </a:cubicBezTo>
                    <a:cubicBezTo>
                      <a:pt x="631126" y="1260475"/>
                      <a:pt x="634704" y="1259051"/>
                      <a:pt x="637567" y="1256202"/>
                    </a:cubicBezTo>
                    <a:cubicBezTo>
                      <a:pt x="637567" y="1256202"/>
                      <a:pt x="637567" y="1256202"/>
                      <a:pt x="730596" y="1167881"/>
                    </a:cubicBezTo>
                    <a:cubicBezTo>
                      <a:pt x="730596" y="1167881"/>
                      <a:pt x="730596" y="1167881"/>
                      <a:pt x="762082" y="1137966"/>
                    </a:cubicBezTo>
                    <a:cubicBezTo>
                      <a:pt x="762082" y="1137966"/>
                      <a:pt x="762082" y="1137966"/>
                      <a:pt x="800010" y="1101641"/>
                    </a:cubicBezTo>
                    <a:cubicBezTo>
                      <a:pt x="806450" y="1095943"/>
                      <a:pt x="806450" y="1085971"/>
                      <a:pt x="800725" y="1079560"/>
                    </a:cubicBezTo>
                    <a:cubicBezTo>
                      <a:pt x="797863" y="1076355"/>
                      <a:pt x="793927" y="1074753"/>
                      <a:pt x="789902" y="1074664"/>
                    </a:cubicBezTo>
                    <a:close/>
                    <a:moveTo>
                      <a:pt x="15705" y="1057275"/>
                    </a:moveTo>
                    <a:cubicBezTo>
                      <a:pt x="15705" y="1057275"/>
                      <a:pt x="15705" y="1057275"/>
                      <a:pt x="468313" y="1057275"/>
                    </a:cubicBezTo>
                    <a:cubicBezTo>
                      <a:pt x="463316" y="1067377"/>
                      <a:pt x="459032" y="1078201"/>
                      <a:pt x="456177" y="1089025"/>
                    </a:cubicBezTo>
                    <a:cubicBezTo>
                      <a:pt x="456177" y="1089025"/>
                      <a:pt x="456177" y="1089025"/>
                      <a:pt x="15705" y="1089025"/>
                    </a:cubicBezTo>
                    <a:cubicBezTo>
                      <a:pt x="6425" y="1089025"/>
                      <a:pt x="0" y="1081809"/>
                      <a:pt x="0" y="1073150"/>
                    </a:cubicBezTo>
                    <a:cubicBezTo>
                      <a:pt x="0" y="1064491"/>
                      <a:pt x="6425" y="1057275"/>
                      <a:pt x="15705" y="1057275"/>
                    </a:cubicBezTo>
                    <a:close/>
                    <a:moveTo>
                      <a:pt x="670322" y="960438"/>
                    </a:moveTo>
                    <a:cubicBezTo>
                      <a:pt x="691039" y="960438"/>
                      <a:pt x="711756" y="964010"/>
                      <a:pt x="731044" y="970439"/>
                    </a:cubicBezTo>
                    <a:cubicBezTo>
                      <a:pt x="742474" y="974011"/>
                      <a:pt x="752476" y="979012"/>
                      <a:pt x="762477" y="984013"/>
                    </a:cubicBezTo>
                    <a:cubicBezTo>
                      <a:pt x="779622" y="993299"/>
                      <a:pt x="795338" y="1005444"/>
                      <a:pt x="808911" y="1019731"/>
                    </a:cubicBezTo>
                    <a:cubicBezTo>
                      <a:pt x="876777" y="1089740"/>
                      <a:pt x="881063" y="1199754"/>
                      <a:pt x="820341" y="1274764"/>
                    </a:cubicBezTo>
                    <a:cubicBezTo>
                      <a:pt x="815341" y="1281193"/>
                      <a:pt x="809626" y="1286908"/>
                      <a:pt x="803911" y="1292623"/>
                    </a:cubicBezTo>
                    <a:cubicBezTo>
                      <a:pt x="797481" y="1298338"/>
                      <a:pt x="793195" y="1302624"/>
                      <a:pt x="788194" y="1306196"/>
                    </a:cubicBezTo>
                    <a:cubicBezTo>
                      <a:pt x="788194" y="1306196"/>
                      <a:pt x="788194" y="1306196"/>
                      <a:pt x="787480" y="1306196"/>
                    </a:cubicBezTo>
                    <a:cubicBezTo>
                      <a:pt x="754619" y="1331914"/>
                      <a:pt x="712471" y="1346201"/>
                      <a:pt x="670322" y="1346201"/>
                    </a:cubicBezTo>
                    <a:cubicBezTo>
                      <a:pt x="626745" y="1346201"/>
                      <a:pt x="586026" y="1332628"/>
                      <a:pt x="552450" y="1306196"/>
                    </a:cubicBezTo>
                    <a:cubicBezTo>
                      <a:pt x="545307" y="1300481"/>
                      <a:pt x="538163" y="1294052"/>
                      <a:pt x="531019" y="1287622"/>
                    </a:cubicBezTo>
                    <a:cubicBezTo>
                      <a:pt x="527447" y="1283336"/>
                      <a:pt x="523875" y="1279050"/>
                      <a:pt x="520303" y="1274764"/>
                    </a:cubicBezTo>
                    <a:cubicBezTo>
                      <a:pt x="476727" y="1221900"/>
                      <a:pt x="466725" y="1150462"/>
                      <a:pt x="488871" y="1088311"/>
                    </a:cubicBezTo>
                    <a:cubicBezTo>
                      <a:pt x="492443" y="1077596"/>
                      <a:pt x="497443" y="1066880"/>
                      <a:pt x="503158" y="1056879"/>
                    </a:cubicBezTo>
                    <a:cubicBezTo>
                      <a:pt x="512445" y="1041877"/>
                      <a:pt x="523161" y="1027589"/>
                      <a:pt x="536734" y="1014731"/>
                    </a:cubicBezTo>
                    <a:cubicBezTo>
                      <a:pt x="556022" y="995443"/>
                      <a:pt x="578882" y="981155"/>
                      <a:pt x="603885" y="972583"/>
                    </a:cubicBezTo>
                    <a:cubicBezTo>
                      <a:pt x="610315" y="969725"/>
                      <a:pt x="616744" y="968296"/>
                      <a:pt x="623888" y="966153"/>
                    </a:cubicBezTo>
                    <a:cubicBezTo>
                      <a:pt x="638890" y="962581"/>
                      <a:pt x="654606" y="960438"/>
                      <a:pt x="670322" y="960438"/>
                    </a:cubicBezTo>
                    <a:close/>
                    <a:moveTo>
                      <a:pt x="15693" y="941388"/>
                    </a:moveTo>
                    <a:cubicBezTo>
                      <a:pt x="15693" y="941388"/>
                      <a:pt x="15693" y="941388"/>
                      <a:pt x="598488" y="941388"/>
                    </a:cubicBezTo>
                    <a:cubicBezTo>
                      <a:pt x="576375" y="948604"/>
                      <a:pt x="556401" y="959428"/>
                      <a:pt x="537855" y="973138"/>
                    </a:cubicBezTo>
                    <a:cubicBezTo>
                      <a:pt x="537855" y="973138"/>
                      <a:pt x="537855" y="973138"/>
                      <a:pt x="15693" y="973138"/>
                    </a:cubicBezTo>
                    <a:cubicBezTo>
                      <a:pt x="6420" y="973138"/>
                      <a:pt x="0" y="965922"/>
                      <a:pt x="0" y="957263"/>
                    </a:cubicBezTo>
                    <a:cubicBezTo>
                      <a:pt x="0" y="948604"/>
                      <a:pt x="6420" y="941388"/>
                      <a:pt x="15693" y="941388"/>
                    </a:cubicBezTo>
                    <a:close/>
                    <a:moveTo>
                      <a:pt x="15712" y="825500"/>
                    </a:moveTo>
                    <a:cubicBezTo>
                      <a:pt x="15712" y="825500"/>
                      <a:pt x="15712" y="825500"/>
                      <a:pt x="611351" y="825500"/>
                    </a:cubicBezTo>
                    <a:cubicBezTo>
                      <a:pt x="620635" y="825500"/>
                      <a:pt x="627063" y="832716"/>
                      <a:pt x="627063" y="841375"/>
                    </a:cubicBezTo>
                    <a:cubicBezTo>
                      <a:pt x="627063" y="850756"/>
                      <a:pt x="620635" y="857250"/>
                      <a:pt x="611351" y="857250"/>
                    </a:cubicBezTo>
                    <a:cubicBezTo>
                      <a:pt x="611351" y="857250"/>
                      <a:pt x="611351" y="857250"/>
                      <a:pt x="15712" y="857250"/>
                    </a:cubicBezTo>
                    <a:cubicBezTo>
                      <a:pt x="6428" y="857250"/>
                      <a:pt x="0" y="850756"/>
                      <a:pt x="0" y="841375"/>
                    </a:cubicBezTo>
                    <a:cubicBezTo>
                      <a:pt x="0" y="832716"/>
                      <a:pt x="6428" y="825500"/>
                      <a:pt x="15712" y="825500"/>
                    </a:cubicBezTo>
                    <a:close/>
                    <a:moveTo>
                      <a:pt x="15712" y="709613"/>
                    </a:moveTo>
                    <a:cubicBezTo>
                      <a:pt x="15712" y="709613"/>
                      <a:pt x="15712" y="709613"/>
                      <a:pt x="611351" y="709613"/>
                    </a:cubicBezTo>
                    <a:cubicBezTo>
                      <a:pt x="620635" y="709613"/>
                      <a:pt x="627063" y="716829"/>
                      <a:pt x="627063" y="725488"/>
                    </a:cubicBezTo>
                    <a:cubicBezTo>
                      <a:pt x="627063" y="734147"/>
                      <a:pt x="620635" y="741363"/>
                      <a:pt x="611351" y="741363"/>
                    </a:cubicBezTo>
                    <a:cubicBezTo>
                      <a:pt x="611351" y="741363"/>
                      <a:pt x="611351" y="741363"/>
                      <a:pt x="15712" y="741363"/>
                    </a:cubicBezTo>
                    <a:cubicBezTo>
                      <a:pt x="6428" y="741363"/>
                      <a:pt x="0" y="734147"/>
                      <a:pt x="0" y="725488"/>
                    </a:cubicBezTo>
                    <a:cubicBezTo>
                      <a:pt x="0" y="716829"/>
                      <a:pt x="6428" y="709613"/>
                      <a:pt x="15712" y="709613"/>
                    </a:cubicBezTo>
                    <a:close/>
                    <a:moveTo>
                      <a:pt x="15712" y="593725"/>
                    </a:moveTo>
                    <a:cubicBezTo>
                      <a:pt x="15712" y="593725"/>
                      <a:pt x="15712" y="593725"/>
                      <a:pt x="611351" y="593725"/>
                    </a:cubicBezTo>
                    <a:cubicBezTo>
                      <a:pt x="620635" y="593725"/>
                      <a:pt x="627063" y="600941"/>
                      <a:pt x="627063" y="609600"/>
                    </a:cubicBezTo>
                    <a:cubicBezTo>
                      <a:pt x="627063" y="618259"/>
                      <a:pt x="620635" y="625475"/>
                      <a:pt x="611351" y="625475"/>
                    </a:cubicBezTo>
                    <a:cubicBezTo>
                      <a:pt x="611351" y="625475"/>
                      <a:pt x="611351" y="625475"/>
                      <a:pt x="15712" y="625475"/>
                    </a:cubicBezTo>
                    <a:cubicBezTo>
                      <a:pt x="6428" y="625475"/>
                      <a:pt x="0" y="618259"/>
                      <a:pt x="0" y="609600"/>
                    </a:cubicBezTo>
                    <a:cubicBezTo>
                      <a:pt x="0" y="600941"/>
                      <a:pt x="6428" y="593725"/>
                      <a:pt x="15712" y="593725"/>
                    </a:cubicBezTo>
                    <a:close/>
                    <a:moveTo>
                      <a:pt x="15712" y="477838"/>
                    </a:moveTo>
                    <a:cubicBezTo>
                      <a:pt x="15712" y="477838"/>
                      <a:pt x="15712" y="477838"/>
                      <a:pt x="611351" y="477838"/>
                    </a:cubicBezTo>
                    <a:cubicBezTo>
                      <a:pt x="620635" y="477838"/>
                      <a:pt x="627063" y="484332"/>
                      <a:pt x="627063" y="493713"/>
                    </a:cubicBezTo>
                    <a:cubicBezTo>
                      <a:pt x="627063" y="502372"/>
                      <a:pt x="620635" y="509588"/>
                      <a:pt x="611351" y="509588"/>
                    </a:cubicBezTo>
                    <a:cubicBezTo>
                      <a:pt x="611351" y="509588"/>
                      <a:pt x="611351" y="509588"/>
                      <a:pt x="15712" y="509588"/>
                    </a:cubicBezTo>
                    <a:cubicBezTo>
                      <a:pt x="6428" y="509588"/>
                      <a:pt x="0" y="502372"/>
                      <a:pt x="0" y="493713"/>
                    </a:cubicBezTo>
                    <a:cubicBezTo>
                      <a:pt x="0" y="484332"/>
                      <a:pt x="6428" y="477838"/>
                      <a:pt x="15712" y="477838"/>
                    </a:cubicBezTo>
                    <a:close/>
                    <a:moveTo>
                      <a:pt x="15712" y="361950"/>
                    </a:moveTo>
                    <a:cubicBezTo>
                      <a:pt x="15712" y="361950"/>
                      <a:pt x="15712" y="361950"/>
                      <a:pt x="611351" y="361950"/>
                    </a:cubicBezTo>
                    <a:cubicBezTo>
                      <a:pt x="620635" y="361950"/>
                      <a:pt x="627063" y="369166"/>
                      <a:pt x="627063" y="377825"/>
                    </a:cubicBezTo>
                    <a:cubicBezTo>
                      <a:pt x="627063" y="386484"/>
                      <a:pt x="620635" y="393700"/>
                      <a:pt x="611351" y="393700"/>
                    </a:cubicBezTo>
                    <a:cubicBezTo>
                      <a:pt x="611351" y="393700"/>
                      <a:pt x="611351" y="393700"/>
                      <a:pt x="15712" y="393700"/>
                    </a:cubicBezTo>
                    <a:cubicBezTo>
                      <a:pt x="6428" y="393700"/>
                      <a:pt x="0" y="386484"/>
                      <a:pt x="0" y="377825"/>
                    </a:cubicBezTo>
                    <a:cubicBezTo>
                      <a:pt x="0" y="369166"/>
                      <a:pt x="6428" y="361950"/>
                      <a:pt x="15712" y="361950"/>
                    </a:cubicBezTo>
                    <a:close/>
                    <a:moveTo>
                      <a:pt x="312738" y="31750"/>
                    </a:moveTo>
                    <a:cubicBezTo>
                      <a:pt x="304902" y="31750"/>
                      <a:pt x="297779" y="33176"/>
                      <a:pt x="290655" y="35314"/>
                    </a:cubicBezTo>
                    <a:cubicBezTo>
                      <a:pt x="276408" y="41016"/>
                      <a:pt x="264299" y="52420"/>
                      <a:pt x="257175" y="66675"/>
                    </a:cubicBezTo>
                    <a:cubicBezTo>
                      <a:pt x="257175" y="66675"/>
                      <a:pt x="257175" y="66675"/>
                      <a:pt x="368300" y="66675"/>
                    </a:cubicBezTo>
                    <a:cubicBezTo>
                      <a:pt x="361177" y="52420"/>
                      <a:pt x="349067" y="41016"/>
                      <a:pt x="334820" y="35314"/>
                    </a:cubicBezTo>
                    <a:cubicBezTo>
                      <a:pt x="327697" y="33176"/>
                      <a:pt x="320573" y="31750"/>
                      <a:pt x="312738" y="31750"/>
                    </a:cubicBezTo>
                    <a:close/>
                    <a:moveTo>
                      <a:pt x="312737" y="0"/>
                    </a:moveTo>
                    <a:cubicBezTo>
                      <a:pt x="342090" y="0"/>
                      <a:pt x="368580" y="13529"/>
                      <a:pt x="385762" y="34890"/>
                    </a:cubicBezTo>
                    <a:cubicBezTo>
                      <a:pt x="392922" y="44147"/>
                      <a:pt x="398649" y="54827"/>
                      <a:pt x="402229" y="66220"/>
                    </a:cubicBezTo>
                    <a:cubicBezTo>
                      <a:pt x="402229" y="66220"/>
                      <a:pt x="402229" y="66220"/>
                      <a:pt x="451628" y="66220"/>
                    </a:cubicBezTo>
                    <a:cubicBezTo>
                      <a:pt x="455208" y="66220"/>
                      <a:pt x="458787" y="69068"/>
                      <a:pt x="458787" y="73340"/>
                    </a:cubicBezTo>
                    <a:cubicBezTo>
                      <a:pt x="458787" y="73340"/>
                      <a:pt x="458787" y="73340"/>
                      <a:pt x="458787" y="113927"/>
                    </a:cubicBezTo>
                    <a:cubicBezTo>
                      <a:pt x="458787" y="113927"/>
                      <a:pt x="458787" y="113927"/>
                      <a:pt x="458787" y="145256"/>
                    </a:cubicBezTo>
                    <a:cubicBezTo>
                      <a:pt x="458787" y="145256"/>
                      <a:pt x="458787" y="145256"/>
                      <a:pt x="458787" y="178010"/>
                    </a:cubicBezTo>
                    <a:cubicBezTo>
                      <a:pt x="458787" y="186555"/>
                      <a:pt x="451628" y="193675"/>
                      <a:pt x="443037" y="193675"/>
                    </a:cubicBezTo>
                    <a:cubicBezTo>
                      <a:pt x="443037" y="193675"/>
                      <a:pt x="443037" y="193675"/>
                      <a:pt x="182438" y="193675"/>
                    </a:cubicBezTo>
                    <a:cubicBezTo>
                      <a:pt x="173847" y="193675"/>
                      <a:pt x="166687" y="186555"/>
                      <a:pt x="166687" y="178010"/>
                    </a:cubicBezTo>
                    <a:cubicBezTo>
                      <a:pt x="166687" y="178010"/>
                      <a:pt x="166687" y="178010"/>
                      <a:pt x="166687" y="145256"/>
                    </a:cubicBezTo>
                    <a:cubicBezTo>
                      <a:pt x="166687" y="145256"/>
                      <a:pt x="166687" y="145256"/>
                      <a:pt x="166687" y="113927"/>
                    </a:cubicBezTo>
                    <a:cubicBezTo>
                      <a:pt x="166687" y="113927"/>
                      <a:pt x="166687" y="113927"/>
                      <a:pt x="166687" y="73340"/>
                    </a:cubicBezTo>
                    <a:cubicBezTo>
                      <a:pt x="166687" y="69068"/>
                      <a:pt x="170267" y="66220"/>
                      <a:pt x="173847" y="66220"/>
                    </a:cubicBezTo>
                    <a:cubicBezTo>
                      <a:pt x="173847" y="66220"/>
                      <a:pt x="173847" y="66220"/>
                      <a:pt x="223246" y="66220"/>
                    </a:cubicBezTo>
                    <a:cubicBezTo>
                      <a:pt x="226825" y="54827"/>
                      <a:pt x="232553" y="44147"/>
                      <a:pt x="239712" y="34890"/>
                    </a:cubicBezTo>
                    <a:cubicBezTo>
                      <a:pt x="256895" y="13529"/>
                      <a:pt x="283384" y="0"/>
                      <a:pt x="312737" y="0"/>
                    </a:cubicBezTo>
                    <a:close/>
                  </a:path>
                </a:pathLst>
              </a:custGeom>
              <a:solidFill>
                <a:srgbClr val="122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grpSp>
        <p:nvGrpSpPr>
          <p:cNvPr id="19" name="bcgIcons_Prioritization">
            <a:extLst>
              <a:ext uri="{FF2B5EF4-FFF2-40B4-BE49-F238E27FC236}">
                <a16:creationId xmlns:a16="http://schemas.microsoft.com/office/drawing/2014/main" id="{061B5B38-D530-4426-A046-CFB82B1FB256}"/>
              </a:ext>
            </a:extLst>
          </p:cNvPr>
          <p:cNvGrpSpPr>
            <a:grpSpLocks noChangeAspect="1"/>
          </p:cNvGrpSpPr>
          <p:nvPr/>
        </p:nvGrpSpPr>
        <p:grpSpPr bwMode="auto">
          <a:xfrm>
            <a:off x="5176257" y="2815580"/>
            <a:ext cx="607557" cy="608120"/>
            <a:chOff x="1682" y="0"/>
            <a:chExt cx="4316" cy="4320"/>
          </a:xfrm>
        </p:grpSpPr>
        <p:sp>
          <p:nvSpPr>
            <p:cNvPr id="20" name="AutoShape 3">
              <a:extLst>
                <a:ext uri="{FF2B5EF4-FFF2-40B4-BE49-F238E27FC236}">
                  <a16:creationId xmlns:a16="http://schemas.microsoft.com/office/drawing/2014/main" id="{0EBDD13E-0E54-467A-B0DD-97EDB6070CB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21" name="Freeform 5">
              <a:extLst>
                <a:ext uri="{FF2B5EF4-FFF2-40B4-BE49-F238E27FC236}">
                  <a16:creationId xmlns:a16="http://schemas.microsoft.com/office/drawing/2014/main" id="{668497F1-9A3E-4FD0-8285-F746C9255D3D}"/>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rgbClr val="071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22" name="Freeform 6">
              <a:extLst>
                <a:ext uri="{FF2B5EF4-FFF2-40B4-BE49-F238E27FC236}">
                  <a16:creationId xmlns:a16="http://schemas.microsoft.com/office/drawing/2014/main" id="{2F4D4BE8-FA65-4CEF-88E4-CAB78F240338}"/>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rgbClr val="122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nvGrpSpPr>
          <p:cNvPr id="23" name="Group 22">
            <a:extLst>
              <a:ext uri="{FF2B5EF4-FFF2-40B4-BE49-F238E27FC236}">
                <a16:creationId xmlns:a16="http://schemas.microsoft.com/office/drawing/2014/main" id="{61DBB23B-67B6-41E1-8E1B-3A9C86AFE4E3}"/>
              </a:ext>
            </a:extLst>
          </p:cNvPr>
          <p:cNvGrpSpPr>
            <a:grpSpLocks noChangeAspect="1"/>
          </p:cNvGrpSpPr>
          <p:nvPr/>
        </p:nvGrpSpPr>
        <p:grpSpPr>
          <a:xfrm>
            <a:off x="5175976" y="3654632"/>
            <a:ext cx="608120" cy="608120"/>
            <a:chOff x="5273675" y="2606675"/>
            <a:chExt cx="1644650" cy="1644650"/>
          </a:xfrm>
        </p:grpSpPr>
        <p:sp>
          <p:nvSpPr>
            <p:cNvPr id="24" name="AutoShape 3">
              <a:extLst>
                <a:ext uri="{FF2B5EF4-FFF2-40B4-BE49-F238E27FC236}">
                  <a16:creationId xmlns:a16="http://schemas.microsoft.com/office/drawing/2014/main" id="{96B57F42-8941-496F-B798-196E5FB0AA08}"/>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nvGrpSpPr>
            <p:cNvPr id="25" name="Group 24">
              <a:extLst>
                <a:ext uri="{FF2B5EF4-FFF2-40B4-BE49-F238E27FC236}">
                  <a16:creationId xmlns:a16="http://schemas.microsoft.com/office/drawing/2014/main" id="{6654489A-2CA5-46DF-90AF-4B0B728B17A7}"/>
                </a:ext>
              </a:extLst>
            </p:cNvPr>
            <p:cNvGrpSpPr/>
            <p:nvPr/>
          </p:nvGrpSpPr>
          <p:grpSpPr>
            <a:xfrm>
              <a:off x="5441950" y="2876549"/>
              <a:ext cx="1308101" cy="1096857"/>
              <a:chOff x="5441950" y="2876549"/>
              <a:chExt cx="1308101" cy="1096857"/>
            </a:xfrm>
          </p:grpSpPr>
          <p:sp>
            <p:nvSpPr>
              <p:cNvPr id="26" name="Freeform 10">
                <a:extLst>
                  <a:ext uri="{FF2B5EF4-FFF2-40B4-BE49-F238E27FC236}">
                    <a16:creationId xmlns:a16="http://schemas.microsoft.com/office/drawing/2014/main" id="{CC309FC2-2909-4D6C-ADFB-6D686E6FB544}"/>
                  </a:ext>
                </a:extLst>
              </p:cNvPr>
              <p:cNvSpPr>
                <a:spLocks/>
              </p:cNvSpPr>
              <p:nvPr/>
            </p:nvSpPr>
            <p:spPr bwMode="auto">
              <a:xfrm>
                <a:off x="5441950" y="3078163"/>
                <a:ext cx="341313" cy="895243"/>
              </a:xfrm>
              <a:custGeom>
                <a:avLst/>
                <a:gdLst>
                  <a:gd name="connsiteX0" fmla="*/ 0 w 341313"/>
                  <a:gd name="connsiteY0" fmla="*/ 468312 h 895243"/>
                  <a:gd name="connsiteX1" fmla="*/ 223547 w 341313"/>
                  <a:gd name="connsiteY1" fmla="*/ 468312 h 895243"/>
                  <a:gd name="connsiteX2" fmla="*/ 224261 w 341313"/>
                  <a:gd name="connsiteY2" fmla="*/ 488315 h 895243"/>
                  <a:gd name="connsiteX3" fmla="*/ 227832 w 341313"/>
                  <a:gd name="connsiteY3" fmla="*/ 517604 h 895243"/>
                  <a:gd name="connsiteX4" fmla="*/ 233546 w 341313"/>
                  <a:gd name="connsiteY4" fmla="*/ 546179 h 895243"/>
                  <a:gd name="connsiteX5" fmla="*/ 237831 w 341313"/>
                  <a:gd name="connsiteY5" fmla="*/ 565467 h 895243"/>
                  <a:gd name="connsiteX6" fmla="*/ 243545 w 341313"/>
                  <a:gd name="connsiteY6" fmla="*/ 584041 h 895243"/>
                  <a:gd name="connsiteX7" fmla="*/ 249973 w 341313"/>
                  <a:gd name="connsiteY7" fmla="*/ 602615 h 895243"/>
                  <a:gd name="connsiteX8" fmla="*/ 264257 w 341313"/>
                  <a:gd name="connsiteY8" fmla="*/ 636905 h 895243"/>
                  <a:gd name="connsiteX9" fmla="*/ 272827 w 341313"/>
                  <a:gd name="connsiteY9" fmla="*/ 653335 h 895243"/>
                  <a:gd name="connsiteX10" fmla="*/ 277112 w 341313"/>
                  <a:gd name="connsiteY10" fmla="*/ 661193 h 895243"/>
                  <a:gd name="connsiteX11" fmla="*/ 287111 w 341313"/>
                  <a:gd name="connsiteY11" fmla="*/ 678338 h 895243"/>
                  <a:gd name="connsiteX12" fmla="*/ 329250 w 341313"/>
                  <a:gd name="connsiteY12" fmla="*/ 734774 h 895243"/>
                  <a:gd name="connsiteX13" fmla="*/ 329250 w 341313"/>
                  <a:gd name="connsiteY13" fmla="*/ 756205 h 895243"/>
                  <a:gd name="connsiteX14" fmla="*/ 192836 w 341313"/>
                  <a:gd name="connsiteY14" fmla="*/ 890508 h 895243"/>
                  <a:gd name="connsiteX15" fmla="*/ 169981 w 341313"/>
                  <a:gd name="connsiteY15" fmla="*/ 889793 h 895243"/>
                  <a:gd name="connsiteX16" fmla="*/ 84277 w 341313"/>
                  <a:gd name="connsiteY16" fmla="*/ 772636 h 895243"/>
                  <a:gd name="connsiteX17" fmla="*/ 77135 w 341313"/>
                  <a:gd name="connsiteY17" fmla="*/ 759777 h 895243"/>
                  <a:gd name="connsiteX18" fmla="*/ 63565 w 341313"/>
                  <a:gd name="connsiteY18" fmla="*/ 733345 h 895243"/>
                  <a:gd name="connsiteX19" fmla="*/ 57137 w 341313"/>
                  <a:gd name="connsiteY19" fmla="*/ 719772 h 895243"/>
                  <a:gd name="connsiteX20" fmla="*/ 45709 w 341313"/>
                  <a:gd name="connsiteY20" fmla="*/ 691912 h 895243"/>
                  <a:gd name="connsiteX21" fmla="*/ 30711 w 341313"/>
                  <a:gd name="connsiteY21" fmla="*/ 649049 h 895243"/>
                  <a:gd name="connsiteX22" fmla="*/ 22141 w 341313"/>
                  <a:gd name="connsiteY22" fmla="*/ 620474 h 895243"/>
                  <a:gd name="connsiteX23" fmla="*/ 18570 w 341313"/>
                  <a:gd name="connsiteY23" fmla="*/ 606901 h 895243"/>
                  <a:gd name="connsiteX24" fmla="*/ 11428 w 341313"/>
                  <a:gd name="connsiteY24" fmla="*/ 576897 h 895243"/>
                  <a:gd name="connsiteX25" fmla="*/ 6428 w 341313"/>
                  <a:gd name="connsiteY25" fmla="*/ 545465 h 895243"/>
                  <a:gd name="connsiteX26" fmla="*/ 2857 w 341313"/>
                  <a:gd name="connsiteY26" fmla="*/ 514747 h 895243"/>
                  <a:gd name="connsiteX27" fmla="*/ 1429 w 341313"/>
                  <a:gd name="connsiteY27" fmla="*/ 499745 h 895243"/>
                  <a:gd name="connsiteX28" fmla="*/ 0 w 341313"/>
                  <a:gd name="connsiteY28" fmla="*/ 468312 h 895243"/>
                  <a:gd name="connsiteX29" fmla="*/ 182081 w 341313"/>
                  <a:gd name="connsiteY29" fmla="*/ 0 h 895243"/>
                  <a:gd name="connsiteX30" fmla="*/ 341313 w 341313"/>
                  <a:gd name="connsiteY30" fmla="*/ 158103 h 895243"/>
                  <a:gd name="connsiteX31" fmla="*/ 264911 w 341313"/>
                  <a:gd name="connsiteY31" fmla="*/ 266353 h 895243"/>
                  <a:gd name="connsiteX32" fmla="*/ 257056 w 341313"/>
                  <a:gd name="connsiteY32" fmla="*/ 284158 h 895243"/>
                  <a:gd name="connsiteX33" fmla="*/ 250630 w 341313"/>
                  <a:gd name="connsiteY33" fmla="*/ 301250 h 895243"/>
                  <a:gd name="connsiteX34" fmla="*/ 244203 w 341313"/>
                  <a:gd name="connsiteY34" fmla="*/ 319767 h 895243"/>
                  <a:gd name="connsiteX35" fmla="*/ 241347 w 341313"/>
                  <a:gd name="connsiteY35" fmla="*/ 329025 h 895243"/>
                  <a:gd name="connsiteX36" fmla="*/ 236349 w 341313"/>
                  <a:gd name="connsiteY36" fmla="*/ 347541 h 895243"/>
                  <a:gd name="connsiteX37" fmla="*/ 229922 w 341313"/>
                  <a:gd name="connsiteY37" fmla="*/ 376028 h 895243"/>
                  <a:gd name="connsiteX38" fmla="*/ 228494 w 341313"/>
                  <a:gd name="connsiteY38" fmla="*/ 385287 h 895243"/>
                  <a:gd name="connsiteX39" fmla="*/ 224924 w 341313"/>
                  <a:gd name="connsiteY39" fmla="*/ 415910 h 895243"/>
                  <a:gd name="connsiteX40" fmla="*/ 224210 w 341313"/>
                  <a:gd name="connsiteY40" fmla="*/ 436563 h 895243"/>
                  <a:gd name="connsiteX41" fmla="*/ 0 w 341313"/>
                  <a:gd name="connsiteY41" fmla="*/ 436563 h 895243"/>
                  <a:gd name="connsiteX42" fmla="*/ 8569 w 341313"/>
                  <a:gd name="connsiteY42" fmla="*/ 341844 h 895243"/>
                  <a:gd name="connsiteX43" fmla="*/ 14995 w 341313"/>
                  <a:gd name="connsiteY43" fmla="*/ 311933 h 895243"/>
                  <a:gd name="connsiteX44" fmla="*/ 18565 w 341313"/>
                  <a:gd name="connsiteY44" fmla="*/ 297689 h 895243"/>
                  <a:gd name="connsiteX45" fmla="*/ 26420 w 341313"/>
                  <a:gd name="connsiteY45" fmla="*/ 268490 h 895243"/>
                  <a:gd name="connsiteX46" fmla="*/ 63550 w 341313"/>
                  <a:gd name="connsiteY46" fmla="*/ 170210 h 895243"/>
                  <a:gd name="connsiteX47" fmla="*/ 77117 w 341313"/>
                  <a:gd name="connsiteY47" fmla="*/ 143859 h 895243"/>
                  <a:gd name="connsiteX48" fmla="*/ 182081 w 341313"/>
                  <a:gd name="connsiteY48" fmla="*/ 0 h 89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41313" h="895243">
                    <a:moveTo>
                      <a:pt x="0" y="468312"/>
                    </a:moveTo>
                    <a:cubicBezTo>
                      <a:pt x="0" y="468312"/>
                      <a:pt x="0" y="468312"/>
                      <a:pt x="223547" y="468312"/>
                    </a:cubicBezTo>
                    <a:cubicBezTo>
                      <a:pt x="223547" y="474742"/>
                      <a:pt x="224261" y="481171"/>
                      <a:pt x="224261" y="488315"/>
                    </a:cubicBezTo>
                    <a:cubicBezTo>
                      <a:pt x="224975" y="497602"/>
                      <a:pt x="226404" y="507603"/>
                      <a:pt x="227832" y="517604"/>
                    </a:cubicBezTo>
                    <a:cubicBezTo>
                      <a:pt x="229261" y="526891"/>
                      <a:pt x="231403" y="536892"/>
                      <a:pt x="233546" y="546179"/>
                    </a:cubicBezTo>
                    <a:cubicBezTo>
                      <a:pt x="234974" y="553323"/>
                      <a:pt x="236403" y="559752"/>
                      <a:pt x="237831" y="565467"/>
                    </a:cubicBezTo>
                    <a:cubicBezTo>
                      <a:pt x="239260" y="571897"/>
                      <a:pt x="241402" y="578326"/>
                      <a:pt x="243545" y="584041"/>
                    </a:cubicBezTo>
                    <a:cubicBezTo>
                      <a:pt x="245687" y="590470"/>
                      <a:pt x="247116" y="596185"/>
                      <a:pt x="249973" y="602615"/>
                    </a:cubicBezTo>
                    <a:cubicBezTo>
                      <a:pt x="254258" y="614759"/>
                      <a:pt x="259257" y="625475"/>
                      <a:pt x="264257" y="636905"/>
                    </a:cubicBezTo>
                    <a:cubicBezTo>
                      <a:pt x="267114" y="641905"/>
                      <a:pt x="269970" y="647620"/>
                      <a:pt x="272827" y="653335"/>
                    </a:cubicBezTo>
                    <a:cubicBezTo>
                      <a:pt x="274256" y="656193"/>
                      <a:pt x="275684" y="658336"/>
                      <a:pt x="277112" y="661193"/>
                    </a:cubicBezTo>
                    <a:cubicBezTo>
                      <a:pt x="280684" y="666908"/>
                      <a:pt x="283540" y="672623"/>
                      <a:pt x="287111" y="678338"/>
                    </a:cubicBezTo>
                    <a:cubicBezTo>
                      <a:pt x="299967" y="698341"/>
                      <a:pt x="313537" y="716915"/>
                      <a:pt x="329250" y="734774"/>
                    </a:cubicBezTo>
                    <a:cubicBezTo>
                      <a:pt x="334963" y="740489"/>
                      <a:pt x="334963" y="750490"/>
                      <a:pt x="329250" y="756205"/>
                    </a:cubicBezTo>
                    <a:cubicBezTo>
                      <a:pt x="329250" y="756205"/>
                      <a:pt x="329250" y="756205"/>
                      <a:pt x="192836" y="890508"/>
                    </a:cubicBezTo>
                    <a:cubicBezTo>
                      <a:pt x="186408" y="896937"/>
                      <a:pt x="175695" y="896937"/>
                      <a:pt x="169981" y="889793"/>
                    </a:cubicBezTo>
                    <a:cubicBezTo>
                      <a:pt x="137842" y="854075"/>
                      <a:pt x="107845" y="814784"/>
                      <a:pt x="84277" y="772636"/>
                    </a:cubicBezTo>
                    <a:cubicBezTo>
                      <a:pt x="81420" y="768350"/>
                      <a:pt x="79277" y="764063"/>
                      <a:pt x="77135" y="759777"/>
                    </a:cubicBezTo>
                    <a:cubicBezTo>
                      <a:pt x="72135" y="751205"/>
                      <a:pt x="67850" y="741918"/>
                      <a:pt x="63565" y="733345"/>
                    </a:cubicBezTo>
                    <a:cubicBezTo>
                      <a:pt x="61422" y="728345"/>
                      <a:pt x="59279" y="724058"/>
                      <a:pt x="57137" y="719772"/>
                    </a:cubicBezTo>
                    <a:cubicBezTo>
                      <a:pt x="53566" y="710485"/>
                      <a:pt x="49281" y="701198"/>
                      <a:pt x="45709" y="691912"/>
                    </a:cubicBezTo>
                    <a:cubicBezTo>
                      <a:pt x="39996" y="678338"/>
                      <a:pt x="34996" y="663337"/>
                      <a:pt x="30711" y="649049"/>
                    </a:cubicBezTo>
                    <a:cubicBezTo>
                      <a:pt x="27854" y="639048"/>
                      <a:pt x="24997" y="630475"/>
                      <a:pt x="22141" y="620474"/>
                    </a:cubicBezTo>
                    <a:cubicBezTo>
                      <a:pt x="20712" y="616188"/>
                      <a:pt x="19284" y="611187"/>
                      <a:pt x="18570" y="606901"/>
                    </a:cubicBezTo>
                    <a:cubicBezTo>
                      <a:pt x="15713" y="596900"/>
                      <a:pt x="13570" y="586898"/>
                      <a:pt x="11428" y="576897"/>
                    </a:cubicBezTo>
                    <a:cubicBezTo>
                      <a:pt x="9285" y="566896"/>
                      <a:pt x="7857" y="556895"/>
                      <a:pt x="6428" y="545465"/>
                    </a:cubicBezTo>
                    <a:cubicBezTo>
                      <a:pt x="5000" y="535463"/>
                      <a:pt x="3571" y="525462"/>
                      <a:pt x="2857" y="514747"/>
                    </a:cubicBezTo>
                    <a:cubicBezTo>
                      <a:pt x="2143" y="509746"/>
                      <a:pt x="1429" y="504745"/>
                      <a:pt x="1429" y="499745"/>
                    </a:cubicBezTo>
                    <a:cubicBezTo>
                      <a:pt x="714" y="489029"/>
                      <a:pt x="0" y="478313"/>
                      <a:pt x="0" y="468312"/>
                    </a:cubicBezTo>
                    <a:close/>
                    <a:moveTo>
                      <a:pt x="182081" y="0"/>
                    </a:moveTo>
                    <a:cubicBezTo>
                      <a:pt x="182081" y="0"/>
                      <a:pt x="182081" y="0"/>
                      <a:pt x="341313" y="158103"/>
                    </a:cubicBezTo>
                    <a:cubicBezTo>
                      <a:pt x="310609" y="190151"/>
                      <a:pt x="284904" y="225759"/>
                      <a:pt x="264911" y="266353"/>
                    </a:cubicBezTo>
                    <a:cubicBezTo>
                      <a:pt x="262054" y="272051"/>
                      <a:pt x="259912" y="277748"/>
                      <a:pt x="257056" y="284158"/>
                    </a:cubicBezTo>
                    <a:cubicBezTo>
                      <a:pt x="254914" y="289855"/>
                      <a:pt x="252772" y="295553"/>
                      <a:pt x="250630" y="301250"/>
                    </a:cubicBezTo>
                    <a:cubicBezTo>
                      <a:pt x="247773" y="307660"/>
                      <a:pt x="246345" y="313357"/>
                      <a:pt x="244203" y="319767"/>
                    </a:cubicBezTo>
                    <a:cubicBezTo>
                      <a:pt x="242775" y="322615"/>
                      <a:pt x="242061" y="325464"/>
                      <a:pt x="241347" y="329025"/>
                    </a:cubicBezTo>
                    <a:cubicBezTo>
                      <a:pt x="239205" y="334722"/>
                      <a:pt x="237777" y="341132"/>
                      <a:pt x="236349" y="347541"/>
                    </a:cubicBezTo>
                    <a:cubicBezTo>
                      <a:pt x="234207" y="356800"/>
                      <a:pt x="232065" y="366058"/>
                      <a:pt x="229922" y="376028"/>
                    </a:cubicBezTo>
                    <a:cubicBezTo>
                      <a:pt x="229922" y="378877"/>
                      <a:pt x="229208" y="382438"/>
                      <a:pt x="228494" y="385287"/>
                    </a:cubicBezTo>
                    <a:cubicBezTo>
                      <a:pt x="227066" y="395969"/>
                      <a:pt x="225638" y="405940"/>
                      <a:pt x="224924" y="415910"/>
                    </a:cubicBezTo>
                    <a:cubicBezTo>
                      <a:pt x="224924" y="422320"/>
                      <a:pt x="224210" y="429441"/>
                      <a:pt x="224210" y="436563"/>
                    </a:cubicBezTo>
                    <a:cubicBezTo>
                      <a:pt x="224210" y="436563"/>
                      <a:pt x="224210" y="436563"/>
                      <a:pt x="0" y="436563"/>
                    </a:cubicBezTo>
                    <a:cubicBezTo>
                      <a:pt x="714" y="403803"/>
                      <a:pt x="3570" y="372467"/>
                      <a:pt x="8569" y="341844"/>
                    </a:cubicBezTo>
                    <a:cubicBezTo>
                      <a:pt x="9997" y="331873"/>
                      <a:pt x="12853" y="321903"/>
                      <a:pt x="14995" y="311933"/>
                    </a:cubicBezTo>
                    <a:cubicBezTo>
                      <a:pt x="16423" y="306947"/>
                      <a:pt x="17137" y="302674"/>
                      <a:pt x="18565" y="297689"/>
                    </a:cubicBezTo>
                    <a:cubicBezTo>
                      <a:pt x="20708" y="287719"/>
                      <a:pt x="23564" y="277748"/>
                      <a:pt x="26420" y="268490"/>
                    </a:cubicBezTo>
                    <a:cubicBezTo>
                      <a:pt x="35702" y="233593"/>
                      <a:pt x="48555" y="201546"/>
                      <a:pt x="63550" y="170210"/>
                    </a:cubicBezTo>
                    <a:cubicBezTo>
                      <a:pt x="67834" y="161664"/>
                      <a:pt x="72119" y="153118"/>
                      <a:pt x="77117" y="143859"/>
                    </a:cubicBezTo>
                    <a:cubicBezTo>
                      <a:pt x="104965" y="91158"/>
                      <a:pt x="140667" y="43443"/>
                      <a:pt x="182081" y="0"/>
                    </a:cubicBezTo>
                    <a:close/>
                  </a:path>
                </a:pathLst>
              </a:custGeom>
              <a:solidFill>
                <a:srgbClr val="071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27" name="Freeform 11">
                <a:extLst>
                  <a:ext uri="{FF2B5EF4-FFF2-40B4-BE49-F238E27FC236}">
                    <a16:creationId xmlns:a16="http://schemas.microsoft.com/office/drawing/2014/main" id="{253483F3-AE2F-4EA0-A14B-1F2FB35E619D}"/>
                  </a:ext>
                </a:extLst>
              </p:cNvPr>
              <p:cNvSpPr>
                <a:spLocks/>
              </p:cNvSpPr>
              <p:nvPr/>
            </p:nvSpPr>
            <p:spPr bwMode="auto">
              <a:xfrm>
                <a:off x="5645150" y="2876549"/>
                <a:ext cx="1104901" cy="1096600"/>
              </a:xfrm>
              <a:custGeom>
                <a:avLst/>
                <a:gdLst>
                  <a:gd name="connsiteX0" fmla="*/ 555397 w 1104901"/>
                  <a:gd name="connsiteY0" fmla="*/ 717550 h 1096600"/>
                  <a:gd name="connsiteX1" fmla="*/ 515938 w 1104901"/>
                  <a:gd name="connsiteY1" fmla="*/ 777673 h 1096600"/>
                  <a:gd name="connsiteX2" fmla="*/ 525265 w 1104901"/>
                  <a:gd name="connsiteY2" fmla="*/ 824913 h 1096600"/>
                  <a:gd name="connsiteX3" fmla="*/ 550375 w 1104901"/>
                  <a:gd name="connsiteY3" fmla="*/ 841375 h 1096600"/>
                  <a:gd name="connsiteX4" fmla="*/ 590551 w 1104901"/>
                  <a:gd name="connsiteY4" fmla="*/ 778389 h 1096600"/>
                  <a:gd name="connsiteX5" fmla="*/ 555397 w 1104901"/>
                  <a:gd name="connsiteY5" fmla="*/ 717550 h 1096600"/>
                  <a:gd name="connsiteX6" fmla="*/ 882174 w 1104901"/>
                  <a:gd name="connsiteY6" fmla="*/ 669925 h 1096600"/>
                  <a:gd name="connsiteX7" fmla="*/ 1104900 w 1104901"/>
                  <a:gd name="connsiteY7" fmla="*/ 669925 h 1096600"/>
                  <a:gd name="connsiteX8" fmla="*/ 1086340 w 1104901"/>
                  <a:gd name="connsiteY8" fmla="*/ 807800 h 1096600"/>
                  <a:gd name="connsiteX9" fmla="*/ 1078487 w 1104901"/>
                  <a:gd name="connsiteY9" fmla="*/ 837089 h 1096600"/>
                  <a:gd name="connsiteX10" fmla="*/ 1069207 w 1104901"/>
                  <a:gd name="connsiteY10" fmla="*/ 865664 h 1096600"/>
                  <a:gd name="connsiteX11" fmla="*/ 1047077 w 1104901"/>
                  <a:gd name="connsiteY11" fmla="*/ 921385 h 1096600"/>
                  <a:gd name="connsiteX12" fmla="*/ 1034941 w 1104901"/>
                  <a:gd name="connsiteY12" fmla="*/ 947817 h 1096600"/>
                  <a:gd name="connsiteX13" fmla="*/ 1020664 w 1104901"/>
                  <a:gd name="connsiteY13" fmla="*/ 974963 h 1096600"/>
                  <a:gd name="connsiteX14" fmla="*/ 1005673 w 1104901"/>
                  <a:gd name="connsiteY14" fmla="*/ 999966 h 1096600"/>
                  <a:gd name="connsiteX15" fmla="*/ 980688 w 1104901"/>
                  <a:gd name="connsiteY15" fmla="*/ 1035685 h 1096600"/>
                  <a:gd name="connsiteX16" fmla="*/ 935714 w 1104901"/>
                  <a:gd name="connsiteY16" fmla="*/ 1091406 h 1096600"/>
                  <a:gd name="connsiteX17" fmla="*/ 912871 w 1104901"/>
                  <a:gd name="connsiteY17" fmla="*/ 1092121 h 1096600"/>
                  <a:gd name="connsiteX18" fmla="*/ 777950 w 1104901"/>
                  <a:gd name="connsiteY18" fmla="*/ 957818 h 1096600"/>
                  <a:gd name="connsiteX19" fmla="*/ 777236 w 1104901"/>
                  <a:gd name="connsiteY19" fmla="*/ 936387 h 1096600"/>
                  <a:gd name="connsiteX20" fmla="*/ 823637 w 1104901"/>
                  <a:gd name="connsiteY20" fmla="*/ 872093 h 1096600"/>
                  <a:gd name="connsiteX21" fmla="*/ 832918 w 1104901"/>
                  <a:gd name="connsiteY21" fmla="*/ 855663 h 1096600"/>
                  <a:gd name="connsiteX22" fmla="*/ 840770 w 1104901"/>
                  <a:gd name="connsiteY22" fmla="*/ 838518 h 1096600"/>
                  <a:gd name="connsiteX23" fmla="*/ 852192 w 1104901"/>
                  <a:gd name="connsiteY23" fmla="*/ 812086 h 1096600"/>
                  <a:gd name="connsiteX24" fmla="*/ 880033 w 1104901"/>
                  <a:gd name="connsiteY24" fmla="*/ 699215 h 1096600"/>
                  <a:gd name="connsiteX25" fmla="*/ 882174 w 1104901"/>
                  <a:gd name="connsiteY25" fmla="*/ 669925 h 1096600"/>
                  <a:gd name="connsiteX26" fmla="*/ 555311 w 1104901"/>
                  <a:gd name="connsiteY26" fmla="*/ 669925 h 1096600"/>
                  <a:gd name="connsiteX27" fmla="*/ 621804 w 1104901"/>
                  <a:gd name="connsiteY27" fmla="*/ 699161 h 1096600"/>
                  <a:gd name="connsiteX28" fmla="*/ 646113 w 1104901"/>
                  <a:gd name="connsiteY28" fmla="*/ 779739 h 1096600"/>
                  <a:gd name="connsiteX29" fmla="*/ 620374 w 1104901"/>
                  <a:gd name="connsiteY29" fmla="*/ 858177 h 1096600"/>
                  <a:gd name="connsiteX30" fmla="*/ 552451 w 1104901"/>
                  <a:gd name="connsiteY30" fmla="*/ 887413 h 1096600"/>
                  <a:gd name="connsiteX31" fmla="*/ 458788 w 1104901"/>
                  <a:gd name="connsiteY31" fmla="*/ 774747 h 1096600"/>
                  <a:gd name="connsiteX32" fmla="*/ 485958 w 1104901"/>
                  <a:gd name="connsiteY32" fmla="*/ 699161 h 1096600"/>
                  <a:gd name="connsiteX33" fmla="*/ 555311 w 1104901"/>
                  <a:gd name="connsiteY33" fmla="*/ 669925 h 1096600"/>
                  <a:gd name="connsiteX34" fmla="*/ 343883 w 1104901"/>
                  <a:gd name="connsiteY34" fmla="*/ 476250 h 1096600"/>
                  <a:gd name="connsiteX35" fmla="*/ 304800 w 1104901"/>
                  <a:gd name="connsiteY35" fmla="*/ 537089 h 1096600"/>
                  <a:gd name="connsiteX36" fmla="*/ 314749 w 1104901"/>
                  <a:gd name="connsiteY36" fmla="*/ 583613 h 1096600"/>
                  <a:gd name="connsiteX37" fmla="*/ 338909 w 1104901"/>
                  <a:gd name="connsiteY37" fmla="*/ 600075 h 1096600"/>
                  <a:gd name="connsiteX38" fmla="*/ 379413 w 1104901"/>
                  <a:gd name="connsiteY38" fmla="*/ 537089 h 1096600"/>
                  <a:gd name="connsiteX39" fmla="*/ 343883 w 1104901"/>
                  <a:gd name="connsiteY39" fmla="*/ 476250 h 1096600"/>
                  <a:gd name="connsiteX40" fmla="*/ 562165 w 1104901"/>
                  <a:gd name="connsiteY40" fmla="*/ 430213 h 1096600"/>
                  <a:gd name="connsiteX41" fmla="*/ 604222 w 1104901"/>
                  <a:gd name="connsiteY41" fmla="*/ 430213 h 1096600"/>
                  <a:gd name="connsiteX42" fmla="*/ 609924 w 1104901"/>
                  <a:gd name="connsiteY42" fmla="*/ 440895 h 1096600"/>
                  <a:gd name="connsiteX43" fmla="*/ 341902 w 1104901"/>
                  <a:gd name="connsiteY43" fmla="*/ 883852 h 1096600"/>
                  <a:gd name="connsiteX44" fmla="*/ 336199 w 1104901"/>
                  <a:gd name="connsiteY44" fmla="*/ 887413 h 1096600"/>
                  <a:gd name="connsiteX45" fmla="*/ 293429 w 1104901"/>
                  <a:gd name="connsiteY45" fmla="*/ 887413 h 1096600"/>
                  <a:gd name="connsiteX46" fmla="*/ 287014 w 1104901"/>
                  <a:gd name="connsiteY46" fmla="*/ 876731 h 1096600"/>
                  <a:gd name="connsiteX47" fmla="*/ 556462 w 1104901"/>
                  <a:gd name="connsiteY47" fmla="*/ 433061 h 1096600"/>
                  <a:gd name="connsiteX48" fmla="*/ 562165 w 1104901"/>
                  <a:gd name="connsiteY48" fmla="*/ 430213 h 1096600"/>
                  <a:gd name="connsiteX49" fmla="*/ 344602 w 1104901"/>
                  <a:gd name="connsiteY49" fmla="*/ 430213 h 1096600"/>
                  <a:gd name="connsiteX50" fmla="*/ 411612 w 1104901"/>
                  <a:gd name="connsiteY50" fmla="*/ 459449 h 1096600"/>
                  <a:gd name="connsiteX51" fmla="*/ 436563 w 1104901"/>
                  <a:gd name="connsiteY51" fmla="*/ 540027 h 1096600"/>
                  <a:gd name="connsiteX52" fmla="*/ 410187 w 1104901"/>
                  <a:gd name="connsiteY52" fmla="*/ 618465 h 1096600"/>
                  <a:gd name="connsiteX53" fmla="*/ 341750 w 1104901"/>
                  <a:gd name="connsiteY53" fmla="*/ 647701 h 1096600"/>
                  <a:gd name="connsiteX54" fmla="*/ 247650 w 1104901"/>
                  <a:gd name="connsiteY54" fmla="*/ 534322 h 1096600"/>
                  <a:gd name="connsiteX55" fmla="*/ 274740 w 1104901"/>
                  <a:gd name="connsiteY55" fmla="*/ 459449 h 1096600"/>
                  <a:gd name="connsiteX56" fmla="*/ 344602 w 1104901"/>
                  <a:gd name="connsiteY56" fmla="*/ 430213 h 1096600"/>
                  <a:gd name="connsiteX57" fmla="*/ 924752 w 1104901"/>
                  <a:gd name="connsiteY57" fmla="*/ 203200 h 1096600"/>
                  <a:gd name="connsiteX58" fmla="*/ 953347 w 1104901"/>
                  <a:gd name="connsiteY58" fmla="*/ 235948 h 1096600"/>
                  <a:gd name="connsiteX59" fmla="*/ 971934 w 1104901"/>
                  <a:gd name="connsiteY59" fmla="*/ 259441 h 1096600"/>
                  <a:gd name="connsiteX60" fmla="*/ 997669 w 1104901"/>
                  <a:gd name="connsiteY60" fmla="*/ 295748 h 1096600"/>
                  <a:gd name="connsiteX61" fmla="*/ 1027694 w 1104901"/>
                  <a:gd name="connsiteY61" fmla="*/ 346293 h 1096600"/>
                  <a:gd name="connsiteX62" fmla="*/ 1078451 w 1104901"/>
                  <a:gd name="connsiteY62" fmla="*/ 470877 h 1096600"/>
                  <a:gd name="connsiteX63" fmla="*/ 1098467 w 1104901"/>
                  <a:gd name="connsiteY63" fmla="*/ 559865 h 1096600"/>
                  <a:gd name="connsiteX64" fmla="*/ 1104901 w 1104901"/>
                  <a:gd name="connsiteY64" fmla="*/ 638175 h 1096600"/>
                  <a:gd name="connsiteX65" fmla="*/ 881859 w 1104901"/>
                  <a:gd name="connsiteY65" fmla="*/ 638175 h 1096600"/>
                  <a:gd name="connsiteX66" fmla="*/ 880429 w 1104901"/>
                  <a:gd name="connsiteY66" fmla="*/ 618241 h 1096600"/>
                  <a:gd name="connsiteX67" fmla="*/ 875425 w 1104901"/>
                  <a:gd name="connsiteY67" fmla="*/ 578375 h 1096600"/>
                  <a:gd name="connsiteX68" fmla="*/ 867561 w 1104901"/>
                  <a:gd name="connsiteY68" fmla="*/ 540644 h 1096600"/>
                  <a:gd name="connsiteX69" fmla="*/ 864702 w 1104901"/>
                  <a:gd name="connsiteY69" fmla="*/ 531389 h 1096600"/>
                  <a:gd name="connsiteX70" fmla="*/ 858983 w 1104901"/>
                  <a:gd name="connsiteY70" fmla="*/ 512879 h 1096600"/>
                  <a:gd name="connsiteX71" fmla="*/ 848260 w 1104901"/>
                  <a:gd name="connsiteY71" fmla="*/ 486539 h 1096600"/>
                  <a:gd name="connsiteX72" fmla="*/ 836821 w 1104901"/>
                  <a:gd name="connsiteY72" fmla="*/ 460198 h 1096600"/>
                  <a:gd name="connsiteX73" fmla="*/ 766763 w 1104901"/>
                  <a:gd name="connsiteY73" fmla="*/ 360531 h 1096600"/>
                  <a:gd name="connsiteX74" fmla="*/ 924752 w 1104901"/>
                  <a:gd name="connsiteY74" fmla="*/ 203200 h 1096600"/>
                  <a:gd name="connsiteX75" fmla="*/ 465138 w 1104901"/>
                  <a:gd name="connsiteY75" fmla="*/ 0 h 1096600"/>
                  <a:gd name="connsiteX76" fmla="*/ 663127 w 1104901"/>
                  <a:gd name="connsiteY76" fmla="*/ 35013 h 1096600"/>
                  <a:gd name="connsiteX77" fmla="*/ 691003 w 1104901"/>
                  <a:gd name="connsiteY77" fmla="*/ 45016 h 1096600"/>
                  <a:gd name="connsiteX78" fmla="*/ 745325 w 1104901"/>
                  <a:gd name="connsiteY78" fmla="*/ 68596 h 1096600"/>
                  <a:gd name="connsiteX79" fmla="*/ 771772 w 1104901"/>
                  <a:gd name="connsiteY79" fmla="*/ 82887 h 1096600"/>
                  <a:gd name="connsiteX80" fmla="*/ 822520 w 1104901"/>
                  <a:gd name="connsiteY80" fmla="*/ 115041 h 1096600"/>
                  <a:gd name="connsiteX81" fmla="*/ 846107 w 1104901"/>
                  <a:gd name="connsiteY81" fmla="*/ 131476 h 1096600"/>
                  <a:gd name="connsiteX82" fmla="*/ 858258 w 1104901"/>
                  <a:gd name="connsiteY82" fmla="*/ 140765 h 1096600"/>
                  <a:gd name="connsiteX83" fmla="*/ 881131 w 1104901"/>
                  <a:gd name="connsiteY83" fmla="*/ 159343 h 1096600"/>
                  <a:gd name="connsiteX84" fmla="*/ 903288 w 1104901"/>
                  <a:gd name="connsiteY84" fmla="*/ 179350 h 1096600"/>
                  <a:gd name="connsiteX85" fmla="*/ 744610 w 1104901"/>
                  <a:gd name="connsiteY85" fmla="*/ 336550 h 1096600"/>
                  <a:gd name="connsiteX86" fmla="*/ 669560 w 1104901"/>
                  <a:gd name="connsiteY86" fmla="*/ 279386 h 1096600"/>
                  <a:gd name="connsiteX87" fmla="*/ 652406 w 1104901"/>
                  <a:gd name="connsiteY87" fmla="*/ 270812 h 1096600"/>
                  <a:gd name="connsiteX88" fmla="*/ 618097 w 1104901"/>
                  <a:gd name="connsiteY88" fmla="*/ 255092 h 1096600"/>
                  <a:gd name="connsiteX89" fmla="*/ 590936 w 1104901"/>
                  <a:gd name="connsiteY89" fmla="*/ 244374 h 1096600"/>
                  <a:gd name="connsiteX90" fmla="*/ 581644 w 1104901"/>
                  <a:gd name="connsiteY90" fmla="*/ 241516 h 1096600"/>
                  <a:gd name="connsiteX91" fmla="*/ 563060 w 1104901"/>
                  <a:gd name="connsiteY91" fmla="*/ 235799 h 1096600"/>
                  <a:gd name="connsiteX92" fmla="*/ 535185 w 1104901"/>
                  <a:gd name="connsiteY92" fmla="*/ 229368 h 1096600"/>
                  <a:gd name="connsiteX93" fmla="*/ 505165 w 1104901"/>
                  <a:gd name="connsiteY93" fmla="*/ 224367 h 1096600"/>
                  <a:gd name="connsiteX94" fmla="*/ 465138 w 1104901"/>
                  <a:gd name="connsiteY94" fmla="*/ 221508 h 1096600"/>
                  <a:gd name="connsiteX95" fmla="*/ 465138 w 1104901"/>
                  <a:gd name="connsiteY95" fmla="*/ 0 h 1096600"/>
                  <a:gd name="connsiteX96" fmla="*/ 434975 w 1104901"/>
                  <a:gd name="connsiteY96" fmla="*/ 0 h 1096600"/>
                  <a:gd name="connsiteX97" fmla="*/ 434975 w 1104901"/>
                  <a:gd name="connsiteY97" fmla="*/ 221508 h 1096600"/>
                  <a:gd name="connsiteX98" fmla="*/ 156876 w 1104901"/>
                  <a:gd name="connsiteY98" fmla="*/ 336550 h 1096600"/>
                  <a:gd name="connsiteX99" fmla="*/ 0 w 1104901"/>
                  <a:gd name="connsiteY99" fmla="*/ 179350 h 1096600"/>
                  <a:gd name="connsiteX100" fmla="*/ 32801 w 1104901"/>
                  <a:gd name="connsiteY100" fmla="*/ 150054 h 1096600"/>
                  <a:gd name="connsiteX101" fmla="*/ 79864 w 1104901"/>
                  <a:gd name="connsiteY101" fmla="*/ 115041 h 1096600"/>
                  <a:gd name="connsiteX102" fmla="*/ 104109 w 1104901"/>
                  <a:gd name="connsiteY102" fmla="*/ 98607 h 1096600"/>
                  <a:gd name="connsiteX103" fmla="*/ 168998 w 1104901"/>
                  <a:gd name="connsiteY103" fmla="*/ 62165 h 1096600"/>
                  <a:gd name="connsiteX104" fmla="*/ 253141 w 1104901"/>
                  <a:gd name="connsiteY104" fmla="*/ 30011 h 1096600"/>
                  <a:gd name="connsiteX105" fmla="*/ 267402 w 1104901"/>
                  <a:gd name="connsiteY105" fmla="*/ 25723 h 1096600"/>
                  <a:gd name="connsiteX106" fmla="*/ 296638 w 1104901"/>
                  <a:gd name="connsiteY106" fmla="*/ 17863 h 1096600"/>
                  <a:gd name="connsiteX107" fmla="*/ 326588 w 1104901"/>
                  <a:gd name="connsiteY107" fmla="*/ 11433 h 1096600"/>
                  <a:gd name="connsiteX108" fmla="*/ 402886 w 1104901"/>
                  <a:gd name="connsiteY108" fmla="*/ 1429 h 1096600"/>
                  <a:gd name="connsiteX109" fmla="*/ 434975 w 1104901"/>
                  <a:gd name="connsiteY109" fmla="*/ 0 h 109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04901" h="1096600">
                    <a:moveTo>
                      <a:pt x="555397" y="717550"/>
                    </a:moveTo>
                    <a:cubicBezTo>
                      <a:pt x="528852" y="717550"/>
                      <a:pt x="515938" y="737591"/>
                      <a:pt x="515938" y="777673"/>
                    </a:cubicBezTo>
                    <a:cubicBezTo>
                      <a:pt x="515938" y="798430"/>
                      <a:pt x="519525" y="814177"/>
                      <a:pt x="525265" y="824913"/>
                    </a:cubicBezTo>
                    <a:cubicBezTo>
                      <a:pt x="531722" y="835649"/>
                      <a:pt x="540331" y="841375"/>
                      <a:pt x="550375" y="841375"/>
                    </a:cubicBezTo>
                    <a:cubicBezTo>
                      <a:pt x="577637" y="841375"/>
                      <a:pt x="590551" y="820618"/>
                      <a:pt x="590551" y="778389"/>
                    </a:cubicBezTo>
                    <a:cubicBezTo>
                      <a:pt x="590551" y="737591"/>
                      <a:pt x="579072" y="717550"/>
                      <a:pt x="555397" y="717550"/>
                    </a:cubicBezTo>
                    <a:close/>
                    <a:moveTo>
                      <a:pt x="882174" y="669925"/>
                    </a:moveTo>
                    <a:cubicBezTo>
                      <a:pt x="882174" y="669925"/>
                      <a:pt x="882174" y="669925"/>
                      <a:pt x="1104900" y="669925"/>
                    </a:cubicBezTo>
                    <a:cubicBezTo>
                      <a:pt x="1103473" y="717074"/>
                      <a:pt x="1097762" y="762794"/>
                      <a:pt x="1086340" y="807800"/>
                    </a:cubicBezTo>
                    <a:cubicBezTo>
                      <a:pt x="1084198" y="817086"/>
                      <a:pt x="1081343" y="827088"/>
                      <a:pt x="1078487" y="837089"/>
                    </a:cubicBezTo>
                    <a:cubicBezTo>
                      <a:pt x="1075632" y="846376"/>
                      <a:pt x="1072776" y="856377"/>
                      <a:pt x="1069207" y="865664"/>
                    </a:cubicBezTo>
                    <a:cubicBezTo>
                      <a:pt x="1062782" y="884238"/>
                      <a:pt x="1055644" y="902811"/>
                      <a:pt x="1047077" y="921385"/>
                    </a:cubicBezTo>
                    <a:cubicBezTo>
                      <a:pt x="1043508" y="929958"/>
                      <a:pt x="1039225" y="939245"/>
                      <a:pt x="1034941" y="947817"/>
                    </a:cubicBezTo>
                    <a:cubicBezTo>
                      <a:pt x="1029944" y="957104"/>
                      <a:pt x="1025661" y="965676"/>
                      <a:pt x="1020664" y="974963"/>
                    </a:cubicBezTo>
                    <a:cubicBezTo>
                      <a:pt x="1015667" y="983536"/>
                      <a:pt x="1010670" y="991394"/>
                      <a:pt x="1005673" y="999966"/>
                    </a:cubicBezTo>
                    <a:cubicBezTo>
                      <a:pt x="997820" y="1011396"/>
                      <a:pt x="989254" y="1023541"/>
                      <a:pt x="980688" y="1035685"/>
                    </a:cubicBezTo>
                    <a:cubicBezTo>
                      <a:pt x="966410" y="1055688"/>
                      <a:pt x="951419" y="1073547"/>
                      <a:pt x="935714" y="1091406"/>
                    </a:cubicBezTo>
                    <a:cubicBezTo>
                      <a:pt x="930003" y="1097836"/>
                      <a:pt x="919295" y="1098550"/>
                      <a:pt x="912871" y="1092121"/>
                    </a:cubicBezTo>
                    <a:cubicBezTo>
                      <a:pt x="912871" y="1092121"/>
                      <a:pt x="912871" y="1092121"/>
                      <a:pt x="777950" y="957818"/>
                    </a:cubicBezTo>
                    <a:cubicBezTo>
                      <a:pt x="771525" y="952103"/>
                      <a:pt x="771525" y="942816"/>
                      <a:pt x="777236" y="936387"/>
                    </a:cubicBezTo>
                    <a:cubicBezTo>
                      <a:pt x="794369" y="916385"/>
                      <a:pt x="810074" y="894953"/>
                      <a:pt x="823637" y="872093"/>
                    </a:cubicBezTo>
                    <a:cubicBezTo>
                      <a:pt x="826493" y="866378"/>
                      <a:pt x="829348" y="860663"/>
                      <a:pt x="832918" y="855663"/>
                    </a:cubicBezTo>
                    <a:cubicBezTo>
                      <a:pt x="835773" y="849948"/>
                      <a:pt x="838629" y="844233"/>
                      <a:pt x="840770" y="838518"/>
                    </a:cubicBezTo>
                    <a:cubicBezTo>
                      <a:pt x="845053" y="829945"/>
                      <a:pt x="848623" y="822087"/>
                      <a:pt x="852192" y="812086"/>
                    </a:cubicBezTo>
                    <a:cubicBezTo>
                      <a:pt x="866469" y="777081"/>
                      <a:pt x="875750" y="739220"/>
                      <a:pt x="880033" y="699215"/>
                    </a:cubicBezTo>
                    <a:cubicBezTo>
                      <a:pt x="881460" y="689928"/>
                      <a:pt x="882174" y="679926"/>
                      <a:pt x="882174" y="669925"/>
                    </a:cubicBezTo>
                    <a:close/>
                    <a:moveTo>
                      <a:pt x="555311" y="669925"/>
                    </a:moveTo>
                    <a:cubicBezTo>
                      <a:pt x="583195" y="669925"/>
                      <a:pt x="605359" y="679908"/>
                      <a:pt x="621804" y="699161"/>
                    </a:cubicBezTo>
                    <a:cubicBezTo>
                      <a:pt x="638248" y="718414"/>
                      <a:pt x="646113" y="745511"/>
                      <a:pt x="646113" y="779739"/>
                    </a:cubicBezTo>
                    <a:cubicBezTo>
                      <a:pt x="646113" y="812540"/>
                      <a:pt x="637533" y="838211"/>
                      <a:pt x="620374" y="858177"/>
                    </a:cubicBezTo>
                    <a:cubicBezTo>
                      <a:pt x="602499" y="877430"/>
                      <a:pt x="580335" y="887413"/>
                      <a:pt x="552451" y="887413"/>
                    </a:cubicBezTo>
                    <a:cubicBezTo>
                      <a:pt x="490247" y="887413"/>
                      <a:pt x="458788" y="849620"/>
                      <a:pt x="458788" y="774747"/>
                    </a:cubicBezTo>
                    <a:cubicBezTo>
                      <a:pt x="458788" y="744085"/>
                      <a:pt x="468083" y="718414"/>
                      <a:pt x="485958" y="699161"/>
                    </a:cubicBezTo>
                    <a:cubicBezTo>
                      <a:pt x="503832" y="679908"/>
                      <a:pt x="526711" y="669925"/>
                      <a:pt x="555311" y="669925"/>
                    </a:cubicBezTo>
                    <a:close/>
                    <a:moveTo>
                      <a:pt x="343883" y="476250"/>
                    </a:moveTo>
                    <a:cubicBezTo>
                      <a:pt x="318302" y="476250"/>
                      <a:pt x="304800" y="496291"/>
                      <a:pt x="304800" y="537089"/>
                    </a:cubicBezTo>
                    <a:cubicBezTo>
                      <a:pt x="304800" y="557130"/>
                      <a:pt x="308353" y="572877"/>
                      <a:pt x="314749" y="583613"/>
                    </a:cubicBezTo>
                    <a:cubicBezTo>
                      <a:pt x="321144" y="594349"/>
                      <a:pt x="329671" y="600075"/>
                      <a:pt x="338909" y="600075"/>
                    </a:cubicBezTo>
                    <a:cubicBezTo>
                      <a:pt x="365912" y="600075"/>
                      <a:pt x="379413" y="579318"/>
                      <a:pt x="379413" y="537089"/>
                    </a:cubicBezTo>
                    <a:cubicBezTo>
                      <a:pt x="379413" y="496291"/>
                      <a:pt x="367333" y="476250"/>
                      <a:pt x="343883" y="476250"/>
                    </a:cubicBezTo>
                    <a:close/>
                    <a:moveTo>
                      <a:pt x="562165" y="430213"/>
                    </a:moveTo>
                    <a:cubicBezTo>
                      <a:pt x="562165" y="430213"/>
                      <a:pt x="562165" y="430213"/>
                      <a:pt x="604222" y="430213"/>
                    </a:cubicBezTo>
                    <a:cubicBezTo>
                      <a:pt x="609924" y="430213"/>
                      <a:pt x="612776" y="435910"/>
                      <a:pt x="609924" y="440895"/>
                    </a:cubicBezTo>
                    <a:cubicBezTo>
                      <a:pt x="609924" y="440895"/>
                      <a:pt x="609924" y="440895"/>
                      <a:pt x="341902" y="883852"/>
                    </a:cubicBezTo>
                    <a:cubicBezTo>
                      <a:pt x="341189" y="885989"/>
                      <a:pt x="338338" y="887413"/>
                      <a:pt x="336199" y="887413"/>
                    </a:cubicBezTo>
                    <a:cubicBezTo>
                      <a:pt x="336199" y="887413"/>
                      <a:pt x="336199" y="887413"/>
                      <a:pt x="293429" y="887413"/>
                    </a:cubicBezTo>
                    <a:cubicBezTo>
                      <a:pt x="287727" y="887413"/>
                      <a:pt x="284163" y="881716"/>
                      <a:pt x="287014" y="876731"/>
                    </a:cubicBezTo>
                    <a:cubicBezTo>
                      <a:pt x="287014" y="876731"/>
                      <a:pt x="287014" y="876731"/>
                      <a:pt x="556462" y="433061"/>
                    </a:cubicBezTo>
                    <a:cubicBezTo>
                      <a:pt x="557888" y="431637"/>
                      <a:pt x="560027" y="430213"/>
                      <a:pt x="562165" y="430213"/>
                    </a:cubicBezTo>
                    <a:close/>
                    <a:moveTo>
                      <a:pt x="344602" y="430213"/>
                    </a:moveTo>
                    <a:cubicBezTo>
                      <a:pt x="372404" y="430213"/>
                      <a:pt x="394503" y="439483"/>
                      <a:pt x="411612" y="459449"/>
                    </a:cubicBezTo>
                    <a:cubicBezTo>
                      <a:pt x="428009" y="478702"/>
                      <a:pt x="436563" y="505799"/>
                      <a:pt x="436563" y="540027"/>
                    </a:cubicBezTo>
                    <a:cubicBezTo>
                      <a:pt x="436563" y="572828"/>
                      <a:pt x="427296" y="598499"/>
                      <a:pt x="410187" y="618465"/>
                    </a:cubicBezTo>
                    <a:cubicBezTo>
                      <a:pt x="392365" y="637718"/>
                      <a:pt x="369553" y="647701"/>
                      <a:pt x="341750" y="647701"/>
                    </a:cubicBezTo>
                    <a:cubicBezTo>
                      <a:pt x="279730" y="647701"/>
                      <a:pt x="247650" y="609908"/>
                      <a:pt x="247650" y="534322"/>
                    </a:cubicBezTo>
                    <a:cubicBezTo>
                      <a:pt x="247650" y="503660"/>
                      <a:pt x="256918" y="478702"/>
                      <a:pt x="274740" y="459449"/>
                    </a:cubicBezTo>
                    <a:cubicBezTo>
                      <a:pt x="293275" y="439483"/>
                      <a:pt x="316800" y="430213"/>
                      <a:pt x="344602" y="430213"/>
                    </a:cubicBezTo>
                    <a:close/>
                    <a:moveTo>
                      <a:pt x="924752" y="203200"/>
                    </a:moveTo>
                    <a:cubicBezTo>
                      <a:pt x="934045" y="213878"/>
                      <a:pt x="944053" y="224557"/>
                      <a:pt x="953347" y="235948"/>
                    </a:cubicBezTo>
                    <a:cubicBezTo>
                      <a:pt x="959781" y="243779"/>
                      <a:pt x="965500" y="252321"/>
                      <a:pt x="971934" y="259441"/>
                    </a:cubicBezTo>
                    <a:cubicBezTo>
                      <a:pt x="980512" y="271543"/>
                      <a:pt x="989091" y="283645"/>
                      <a:pt x="997669" y="295748"/>
                    </a:cubicBezTo>
                    <a:cubicBezTo>
                      <a:pt x="1008393" y="312122"/>
                      <a:pt x="1018401" y="329207"/>
                      <a:pt x="1027694" y="346293"/>
                    </a:cubicBezTo>
                    <a:cubicBezTo>
                      <a:pt x="1048426" y="385448"/>
                      <a:pt x="1065583" y="427450"/>
                      <a:pt x="1078451" y="470877"/>
                    </a:cubicBezTo>
                    <a:cubicBezTo>
                      <a:pt x="1087029" y="499353"/>
                      <a:pt x="1094178" y="529253"/>
                      <a:pt x="1098467" y="559865"/>
                    </a:cubicBezTo>
                    <a:cubicBezTo>
                      <a:pt x="1102042" y="584782"/>
                      <a:pt x="1104186" y="611122"/>
                      <a:pt x="1104901" y="638175"/>
                    </a:cubicBezTo>
                    <a:cubicBezTo>
                      <a:pt x="1104901" y="638175"/>
                      <a:pt x="1104901" y="638175"/>
                      <a:pt x="881859" y="638175"/>
                    </a:cubicBezTo>
                    <a:cubicBezTo>
                      <a:pt x="881859" y="631056"/>
                      <a:pt x="881144" y="624649"/>
                      <a:pt x="880429" y="618241"/>
                    </a:cubicBezTo>
                    <a:cubicBezTo>
                      <a:pt x="879714" y="604003"/>
                      <a:pt x="877570" y="591189"/>
                      <a:pt x="875425" y="578375"/>
                    </a:cubicBezTo>
                    <a:cubicBezTo>
                      <a:pt x="873280" y="565560"/>
                      <a:pt x="870421" y="552746"/>
                      <a:pt x="867561" y="540644"/>
                    </a:cubicBezTo>
                    <a:cubicBezTo>
                      <a:pt x="866131" y="537084"/>
                      <a:pt x="865417" y="534236"/>
                      <a:pt x="864702" y="531389"/>
                    </a:cubicBezTo>
                    <a:cubicBezTo>
                      <a:pt x="862557" y="524982"/>
                      <a:pt x="861127" y="519286"/>
                      <a:pt x="858983" y="512879"/>
                    </a:cubicBezTo>
                    <a:cubicBezTo>
                      <a:pt x="855408" y="503624"/>
                      <a:pt x="851834" y="495082"/>
                      <a:pt x="848260" y="486539"/>
                    </a:cubicBezTo>
                    <a:cubicBezTo>
                      <a:pt x="844685" y="477284"/>
                      <a:pt x="841111" y="468741"/>
                      <a:pt x="836821" y="460198"/>
                    </a:cubicBezTo>
                    <a:cubicBezTo>
                      <a:pt x="818235" y="423891"/>
                      <a:pt x="794644" y="390431"/>
                      <a:pt x="766763" y="360531"/>
                    </a:cubicBezTo>
                    <a:cubicBezTo>
                      <a:pt x="766763" y="360531"/>
                      <a:pt x="766763" y="360531"/>
                      <a:pt x="924752" y="203200"/>
                    </a:cubicBezTo>
                    <a:close/>
                    <a:moveTo>
                      <a:pt x="465138" y="0"/>
                    </a:moveTo>
                    <a:cubicBezTo>
                      <a:pt x="534470" y="1429"/>
                      <a:pt x="600228" y="13576"/>
                      <a:pt x="663127" y="35013"/>
                    </a:cubicBezTo>
                    <a:cubicBezTo>
                      <a:pt x="672419" y="37871"/>
                      <a:pt x="681711" y="41443"/>
                      <a:pt x="691003" y="45016"/>
                    </a:cubicBezTo>
                    <a:cubicBezTo>
                      <a:pt x="709587" y="51447"/>
                      <a:pt x="727456" y="60022"/>
                      <a:pt x="745325" y="68596"/>
                    </a:cubicBezTo>
                    <a:cubicBezTo>
                      <a:pt x="754617" y="73598"/>
                      <a:pt x="763194" y="77885"/>
                      <a:pt x="771772" y="82887"/>
                    </a:cubicBezTo>
                    <a:cubicBezTo>
                      <a:pt x="789641" y="92891"/>
                      <a:pt x="806080" y="103609"/>
                      <a:pt x="822520" y="115041"/>
                    </a:cubicBezTo>
                    <a:cubicBezTo>
                      <a:pt x="830382" y="120758"/>
                      <a:pt x="838245" y="125760"/>
                      <a:pt x="846107" y="131476"/>
                    </a:cubicBezTo>
                    <a:cubicBezTo>
                      <a:pt x="850396" y="134334"/>
                      <a:pt x="853970" y="137192"/>
                      <a:pt x="858258" y="140765"/>
                    </a:cubicBezTo>
                    <a:cubicBezTo>
                      <a:pt x="866121" y="146481"/>
                      <a:pt x="873983" y="152912"/>
                      <a:pt x="881131" y="159343"/>
                    </a:cubicBezTo>
                    <a:cubicBezTo>
                      <a:pt x="888993" y="165774"/>
                      <a:pt x="896141" y="172205"/>
                      <a:pt x="903288" y="179350"/>
                    </a:cubicBezTo>
                    <a:cubicBezTo>
                      <a:pt x="903288" y="179350"/>
                      <a:pt x="903288" y="179350"/>
                      <a:pt x="744610" y="336550"/>
                    </a:cubicBezTo>
                    <a:cubicBezTo>
                      <a:pt x="721738" y="315114"/>
                      <a:pt x="696721" y="296535"/>
                      <a:pt x="669560" y="279386"/>
                    </a:cubicBezTo>
                    <a:cubicBezTo>
                      <a:pt x="663842" y="276528"/>
                      <a:pt x="658124" y="273670"/>
                      <a:pt x="652406" y="270812"/>
                    </a:cubicBezTo>
                    <a:cubicBezTo>
                      <a:pt x="641684" y="265096"/>
                      <a:pt x="630248" y="260094"/>
                      <a:pt x="618097" y="255092"/>
                    </a:cubicBezTo>
                    <a:cubicBezTo>
                      <a:pt x="609520" y="250805"/>
                      <a:pt x="600228" y="247946"/>
                      <a:pt x="590936" y="244374"/>
                    </a:cubicBezTo>
                    <a:cubicBezTo>
                      <a:pt x="588077" y="243659"/>
                      <a:pt x="584503" y="242230"/>
                      <a:pt x="581644" y="241516"/>
                    </a:cubicBezTo>
                    <a:cubicBezTo>
                      <a:pt x="575926" y="239372"/>
                      <a:pt x="569493" y="237943"/>
                      <a:pt x="563060" y="235799"/>
                    </a:cubicBezTo>
                    <a:cubicBezTo>
                      <a:pt x="553768" y="233656"/>
                      <a:pt x="544476" y="231512"/>
                      <a:pt x="535185" y="229368"/>
                    </a:cubicBezTo>
                    <a:cubicBezTo>
                      <a:pt x="525178" y="227225"/>
                      <a:pt x="515171" y="225796"/>
                      <a:pt x="505165" y="224367"/>
                    </a:cubicBezTo>
                    <a:cubicBezTo>
                      <a:pt x="492299" y="222937"/>
                      <a:pt x="478718" y="222223"/>
                      <a:pt x="465138" y="221508"/>
                    </a:cubicBezTo>
                    <a:cubicBezTo>
                      <a:pt x="465138" y="221508"/>
                      <a:pt x="465138" y="221508"/>
                      <a:pt x="465138" y="0"/>
                    </a:cubicBezTo>
                    <a:close/>
                    <a:moveTo>
                      <a:pt x="434975" y="0"/>
                    </a:moveTo>
                    <a:cubicBezTo>
                      <a:pt x="434975" y="221508"/>
                      <a:pt x="434975" y="221508"/>
                      <a:pt x="434975" y="221508"/>
                    </a:cubicBezTo>
                    <a:cubicBezTo>
                      <a:pt x="327301" y="225081"/>
                      <a:pt x="230323" y="267954"/>
                      <a:pt x="156876" y="336550"/>
                    </a:cubicBezTo>
                    <a:cubicBezTo>
                      <a:pt x="156876" y="336550"/>
                      <a:pt x="156876" y="336550"/>
                      <a:pt x="0" y="179350"/>
                    </a:cubicBezTo>
                    <a:cubicBezTo>
                      <a:pt x="10696" y="169347"/>
                      <a:pt x="21392" y="159343"/>
                      <a:pt x="32801" y="150054"/>
                    </a:cubicBezTo>
                    <a:cubicBezTo>
                      <a:pt x="48489" y="137192"/>
                      <a:pt x="63463" y="125760"/>
                      <a:pt x="79864" y="115041"/>
                    </a:cubicBezTo>
                    <a:cubicBezTo>
                      <a:pt x="87708" y="109325"/>
                      <a:pt x="96265" y="103609"/>
                      <a:pt x="104109" y="98607"/>
                    </a:cubicBezTo>
                    <a:cubicBezTo>
                      <a:pt x="124788" y="85031"/>
                      <a:pt x="146893" y="72883"/>
                      <a:pt x="168998" y="62165"/>
                    </a:cubicBezTo>
                    <a:cubicBezTo>
                      <a:pt x="196095" y="50018"/>
                      <a:pt x="223905" y="39300"/>
                      <a:pt x="253141" y="30011"/>
                    </a:cubicBezTo>
                    <a:cubicBezTo>
                      <a:pt x="258132" y="28582"/>
                      <a:pt x="263124" y="27153"/>
                      <a:pt x="267402" y="25723"/>
                    </a:cubicBezTo>
                    <a:cubicBezTo>
                      <a:pt x="277385" y="22865"/>
                      <a:pt x="287368" y="20007"/>
                      <a:pt x="296638" y="17863"/>
                    </a:cubicBezTo>
                    <a:cubicBezTo>
                      <a:pt x="306621" y="15720"/>
                      <a:pt x="316605" y="13576"/>
                      <a:pt x="326588" y="11433"/>
                    </a:cubicBezTo>
                    <a:cubicBezTo>
                      <a:pt x="351545" y="6431"/>
                      <a:pt x="377929" y="3573"/>
                      <a:pt x="402886" y="1429"/>
                    </a:cubicBezTo>
                    <a:cubicBezTo>
                      <a:pt x="414296" y="714"/>
                      <a:pt x="424992" y="0"/>
                      <a:pt x="434975" y="0"/>
                    </a:cubicBezTo>
                    <a:close/>
                  </a:path>
                </a:pathLst>
              </a:custGeom>
              <a:solidFill>
                <a:srgbClr val="122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grpSp>
        <p:nvGrpSpPr>
          <p:cNvPr id="28" name="Group 27">
            <a:extLst>
              <a:ext uri="{FF2B5EF4-FFF2-40B4-BE49-F238E27FC236}">
                <a16:creationId xmlns:a16="http://schemas.microsoft.com/office/drawing/2014/main" id="{EC3D442D-D7E1-4152-98DC-7438FE357065}"/>
              </a:ext>
            </a:extLst>
          </p:cNvPr>
          <p:cNvGrpSpPr>
            <a:grpSpLocks noChangeAspect="1"/>
          </p:cNvGrpSpPr>
          <p:nvPr/>
        </p:nvGrpSpPr>
        <p:grpSpPr>
          <a:xfrm>
            <a:off x="5175682" y="4482591"/>
            <a:ext cx="608708" cy="608120"/>
            <a:chOff x="6464300" y="2606675"/>
            <a:chExt cx="1646238" cy="1644650"/>
          </a:xfrm>
        </p:grpSpPr>
        <p:sp>
          <p:nvSpPr>
            <p:cNvPr id="29" name="AutoShape 15">
              <a:extLst>
                <a:ext uri="{FF2B5EF4-FFF2-40B4-BE49-F238E27FC236}">
                  <a16:creationId xmlns:a16="http://schemas.microsoft.com/office/drawing/2014/main" id="{04420E78-AF23-462C-9413-FBF328931B68}"/>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nvGrpSpPr>
            <p:cNvPr id="30" name="Group 29">
              <a:extLst>
                <a:ext uri="{FF2B5EF4-FFF2-40B4-BE49-F238E27FC236}">
                  <a16:creationId xmlns:a16="http://schemas.microsoft.com/office/drawing/2014/main" id="{5CFAACB2-8AD5-428B-8DB0-E7531000D614}"/>
                </a:ext>
              </a:extLst>
            </p:cNvPr>
            <p:cNvGrpSpPr/>
            <p:nvPr/>
          </p:nvGrpSpPr>
          <p:grpSpPr>
            <a:xfrm>
              <a:off x="6635750" y="2963862"/>
              <a:ext cx="1367015" cy="1238250"/>
              <a:chOff x="6635750" y="2963862"/>
              <a:chExt cx="1367015" cy="1238250"/>
            </a:xfrm>
          </p:grpSpPr>
          <p:sp>
            <p:nvSpPr>
              <p:cNvPr id="31" name="Freeform 10">
                <a:extLst>
                  <a:ext uri="{FF2B5EF4-FFF2-40B4-BE49-F238E27FC236}">
                    <a16:creationId xmlns:a16="http://schemas.microsoft.com/office/drawing/2014/main" id="{C8A03586-D902-49B7-9AF2-E992E11DA7E7}"/>
                  </a:ext>
                </a:extLst>
              </p:cNvPr>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rgbClr val="07111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32" name="Freeform 11">
                <a:extLst>
                  <a:ext uri="{FF2B5EF4-FFF2-40B4-BE49-F238E27FC236}">
                    <a16:creationId xmlns:a16="http://schemas.microsoft.com/office/drawing/2014/main" id="{A90F8406-E569-4247-B2A4-8FCC5246566A}"/>
                  </a:ext>
                </a:extLst>
              </p:cNvPr>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rgbClr val="12284C"/>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grpSp>
        <p:nvGrpSpPr>
          <p:cNvPr id="33" name="bcgIcons_ThumbsUp">
            <a:extLst>
              <a:ext uri="{FF2B5EF4-FFF2-40B4-BE49-F238E27FC236}">
                <a16:creationId xmlns:a16="http://schemas.microsoft.com/office/drawing/2014/main" id="{0874E560-1822-4E1D-A37B-6FC60D00CDAA}"/>
              </a:ext>
            </a:extLst>
          </p:cNvPr>
          <p:cNvGrpSpPr>
            <a:grpSpLocks noChangeAspect="1"/>
          </p:cNvGrpSpPr>
          <p:nvPr/>
        </p:nvGrpSpPr>
        <p:grpSpPr bwMode="auto">
          <a:xfrm>
            <a:off x="5176258" y="5306610"/>
            <a:ext cx="607557" cy="608120"/>
            <a:chOff x="1682" y="0"/>
            <a:chExt cx="4316" cy="4320"/>
          </a:xfrm>
        </p:grpSpPr>
        <p:sp>
          <p:nvSpPr>
            <p:cNvPr id="34" name="AutoShape 3">
              <a:extLst>
                <a:ext uri="{FF2B5EF4-FFF2-40B4-BE49-F238E27FC236}">
                  <a16:creationId xmlns:a16="http://schemas.microsoft.com/office/drawing/2014/main" id="{07F33DA0-5770-45CF-96BF-EBFACC92F17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35" name="Freeform 5">
              <a:extLst>
                <a:ext uri="{FF2B5EF4-FFF2-40B4-BE49-F238E27FC236}">
                  <a16:creationId xmlns:a16="http://schemas.microsoft.com/office/drawing/2014/main" id="{D86A539D-3121-4F4E-807D-16B4FC88442F}"/>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rgbClr val="0711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36" name="Freeform 6">
              <a:extLst>
                <a:ext uri="{FF2B5EF4-FFF2-40B4-BE49-F238E27FC236}">
                  <a16:creationId xmlns:a16="http://schemas.microsoft.com/office/drawing/2014/main" id="{2E8DFBBB-52B7-4ACC-812F-FE76C9D4967B}"/>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rgbClr val="122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cxnSp>
        <p:nvCxnSpPr>
          <p:cNvPr id="38" name="Straight Connector 37">
            <a:extLst>
              <a:ext uri="{FF2B5EF4-FFF2-40B4-BE49-F238E27FC236}">
                <a16:creationId xmlns:a16="http://schemas.microsoft.com/office/drawing/2014/main" id="{4F4102E6-3D4F-4FB5-9977-B2B57C8B97DA}"/>
              </a:ext>
            </a:extLst>
          </p:cNvPr>
          <p:cNvCxnSpPr/>
          <p:nvPr/>
        </p:nvCxnSpPr>
        <p:spPr>
          <a:xfrm>
            <a:off x="4935596" y="1708952"/>
            <a:ext cx="0" cy="4274700"/>
          </a:xfrm>
          <a:prstGeom prst="line">
            <a:avLst/>
          </a:prstGeom>
          <a:ln w="9525" cap="rnd" cmpd="sng" algn="ctr">
            <a:solidFill>
              <a:srgbClr val="12284C"/>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09AA64D-08F5-45EA-A1D0-DD88B3A6436F}"/>
              </a:ext>
            </a:extLst>
          </p:cNvPr>
          <p:cNvSpPr/>
          <p:nvPr/>
        </p:nvSpPr>
        <p:spPr>
          <a:xfrm>
            <a:off x="472723" y="5586893"/>
            <a:ext cx="4284206" cy="600164"/>
          </a:xfrm>
          <a:prstGeom prst="rect">
            <a:avLst/>
          </a:prstGeom>
        </p:spPr>
        <p:txBody>
          <a:bodyPr wrap="square">
            <a:spAutoFit/>
          </a:bodyPr>
          <a:lstStyle/>
          <a:p>
            <a:pPr marL="0" marR="0" lvl="0" indent="-198000" algn="l" defTabSz="914400" rtl="0" eaLnBrk="1" fontAlgn="auto" latinLnBrk="0" hangingPunct="1">
              <a:lnSpc>
                <a:spcPct val="100000"/>
              </a:lnSpc>
              <a:spcBef>
                <a:spcPts val="0"/>
              </a:spcBef>
              <a:spcAft>
                <a:spcPts val="1200"/>
              </a:spcAft>
              <a:buClr>
                <a:srgbClr val="051934"/>
              </a:buClr>
              <a:buSzPct val="100000"/>
              <a:buFontTx/>
              <a:buNone/>
              <a:tabLst/>
              <a:defRPr/>
            </a:pPr>
            <a:r>
              <a:rPr kumimoji="0" lang="en-US" sz="1100" b="0" i="1" u="none" strike="noStrike" kern="1200" cap="none" spc="0" normalizeH="0" baseline="0" noProof="0" dirty="0">
                <a:ln>
                  <a:noFill/>
                </a:ln>
                <a:solidFill>
                  <a:srgbClr val="051934"/>
                </a:solidFill>
                <a:effectLst/>
                <a:uLnTx/>
                <a:uFillTx/>
                <a:latin typeface="Open Sans"/>
                <a:ea typeface="+mn-ea"/>
                <a:cs typeface="+mn-cs"/>
              </a:rPr>
              <a:t>1. ESSER I and CRF funds used for K-12 not in scope for Task Force oversight, though an understanding of how those funds were utilized will be critical to evaluating spending of in-scope funds</a:t>
            </a:r>
          </a:p>
        </p:txBody>
      </p:sp>
    </p:spTree>
    <p:extLst>
      <p:ext uri="{BB962C8B-B14F-4D97-AF65-F5344CB8AC3E}">
        <p14:creationId xmlns:p14="http://schemas.microsoft.com/office/powerpoint/2010/main" val="127985792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096827F-6CE7-4CE3-8C7B-F02EE2004F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963" name="think-cell Slide" r:id="rId6" imgW="592" imgH="595" progId="TCLayout.ActiveDocument.1">
                  <p:embed/>
                </p:oleObj>
              </mc:Choice>
              <mc:Fallback>
                <p:oleObj name="think-cell Slide" r:id="rId6" imgW="592" imgH="595" progId="TCLayout.ActiveDocument.1">
                  <p:embed/>
                  <p:pic>
                    <p:nvPicPr>
                      <p:cNvPr id="4" name="Object 3" hidden="1">
                        <a:extLst>
                          <a:ext uri="{FF2B5EF4-FFF2-40B4-BE49-F238E27FC236}">
                            <a16:creationId xmlns:a16="http://schemas.microsoft.com/office/drawing/2014/main" id="{9096827F-6CE7-4CE3-8C7B-F02EE2004F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FF2622-D1F1-4F4A-A7F9-41161C8C2FBB}"/>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sym typeface="Open Sans" panose="020B0606030504020204" pitchFamily="34" charset="0"/>
            </a:endParaRPr>
          </a:p>
        </p:txBody>
      </p:sp>
      <p:sp>
        <p:nvSpPr>
          <p:cNvPr id="2" name="Title 1">
            <a:extLst>
              <a:ext uri="{FF2B5EF4-FFF2-40B4-BE49-F238E27FC236}">
                <a16:creationId xmlns:a16="http://schemas.microsoft.com/office/drawing/2014/main" id="{BC1A3F3D-2BF9-407A-B1FF-552452A2F9CA}"/>
              </a:ext>
            </a:extLst>
          </p:cNvPr>
          <p:cNvSpPr>
            <a:spLocks noGrp="1"/>
          </p:cNvSpPr>
          <p:nvPr>
            <p:ph type="title"/>
          </p:nvPr>
        </p:nvSpPr>
        <p:spPr>
          <a:xfrm>
            <a:off x="630001" y="2681103"/>
            <a:ext cx="3036478" cy="1495794"/>
          </a:xfrm>
        </p:spPr>
        <p:txBody>
          <a:bodyPr/>
          <a:lstStyle/>
          <a:p>
            <a:r>
              <a:rPr lang="en-US" dirty="0"/>
              <a:t>Task Force work will be conducted in weekly public meetings</a:t>
            </a:r>
          </a:p>
        </p:txBody>
      </p:sp>
      <p:sp>
        <p:nvSpPr>
          <p:cNvPr id="13" name="Rectangle 12">
            <a:extLst>
              <a:ext uri="{FF2B5EF4-FFF2-40B4-BE49-F238E27FC236}">
                <a16:creationId xmlns:a16="http://schemas.microsoft.com/office/drawing/2014/main" id="{3873F1D4-0A86-4E63-82EC-B810CA611FF9}"/>
              </a:ext>
            </a:extLst>
          </p:cNvPr>
          <p:cNvSpPr/>
          <p:nvPr/>
        </p:nvSpPr>
        <p:spPr>
          <a:xfrm>
            <a:off x="4350058" y="1289953"/>
            <a:ext cx="7386222" cy="4278094"/>
          </a:xfrm>
          <a:prstGeom prst="rect">
            <a:avLst/>
          </a:prstGeom>
        </p:spPr>
        <p:txBody>
          <a:bodyPr wrap="square">
            <a:spAutoFit/>
          </a:bodyPr>
          <a:lstStyle/>
          <a:p>
            <a:pPr marL="429300" marR="0" lvl="1" indent="-342900" algn="l" defTabSz="914400" rtl="0" eaLnBrk="1" fontAlgn="auto" latinLnBrk="0" hangingPunct="1">
              <a:lnSpc>
                <a:spcPct val="100000"/>
              </a:lnSpc>
              <a:spcBef>
                <a:spcPts val="0"/>
              </a:spcBef>
              <a:spcAft>
                <a:spcPts val="2400"/>
              </a:spcAft>
              <a:buClr>
                <a:srgbClr val="051934"/>
              </a:buClr>
              <a:buSzPct val="100000"/>
              <a:buFont typeface="Wingdings" panose="05000000000000000000" pitchFamily="2" charset="2"/>
              <a:buChar char="Ø"/>
              <a:tabLst/>
              <a:defRPr/>
            </a:pPr>
            <a:r>
              <a:rPr kumimoji="0" lang="en-US" sz="2400" b="0" i="0" u="none" strike="noStrike" kern="1200" cap="none" spc="0" normalizeH="0" baseline="0" noProof="0" dirty="0">
                <a:ln>
                  <a:noFill/>
                </a:ln>
                <a:solidFill>
                  <a:srgbClr val="12284C"/>
                </a:solidFill>
                <a:effectLst/>
                <a:uLnTx/>
                <a:uFillTx/>
                <a:latin typeface="Open Sans"/>
                <a:ea typeface="+mn-ea"/>
                <a:cs typeface="+mn-cs"/>
              </a:rPr>
              <a:t>Meetings on Fridays 3-5pm</a:t>
            </a:r>
          </a:p>
          <a:p>
            <a:pPr marL="429300" marR="0" lvl="1" indent="-342900" algn="l" defTabSz="914400" rtl="0" eaLnBrk="1" fontAlgn="auto" latinLnBrk="0" hangingPunct="1">
              <a:lnSpc>
                <a:spcPct val="100000"/>
              </a:lnSpc>
              <a:spcBef>
                <a:spcPts val="0"/>
              </a:spcBef>
              <a:spcAft>
                <a:spcPts val="2400"/>
              </a:spcAft>
              <a:buClr>
                <a:srgbClr val="051934"/>
              </a:buClr>
              <a:buSzPct val="100000"/>
              <a:buFont typeface="Wingdings" panose="05000000000000000000" pitchFamily="2" charset="2"/>
              <a:buChar char="Ø"/>
              <a:tabLst/>
              <a:defRPr/>
            </a:pPr>
            <a:r>
              <a:rPr kumimoji="0" lang="en-US" sz="2400" b="0" i="0" u="none" strike="noStrike" kern="1200" cap="none" spc="0" normalizeH="0" baseline="0" noProof="0" dirty="0">
                <a:ln>
                  <a:noFill/>
                </a:ln>
                <a:solidFill>
                  <a:srgbClr val="12284C"/>
                </a:solidFill>
                <a:effectLst/>
                <a:uLnTx/>
                <a:uFillTx/>
                <a:latin typeface="Open Sans"/>
                <a:ea typeface="+mn-ea"/>
                <a:cs typeface="+mn-cs"/>
              </a:rPr>
              <a:t>Meetings will be livestreamed and recorded</a:t>
            </a:r>
          </a:p>
          <a:p>
            <a:pPr marL="429300" marR="0" lvl="1" indent="-342900" algn="l" defTabSz="914400" rtl="0" eaLnBrk="1" fontAlgn="auto" latinLnBrk="0" hangingPunct="1">
              <a:lnSpc>
                <a:spcPct val="100000"/>
              </a:lnSpc>
              <a:spcBef>
                <a:spcPts val="0"/>
              </a:spcBef>
              <a:spcAft>
                <a:spcPts val="2400"/>
              </a:spcAft>
              <a:buClr>
                <a:srgbClr val="051934"/>
              </a:buClr>
              <a:buSzPct val="100000"/>
              <a:buFont typeface="Wingdings" panose="05000000000000000000" pitchFamily="2" charset="2"/>
              <a:buChar char="Ø"/>
              <a:tabLst/>
              <a:defRPr/>
            </a:pPr>
            <a:r>
              <a:rPr kumimoji="0" lang="en-US" sz="2400" b="0" i="0" u="none" strike="noStrike" kern="1200" cap="none" spc="0" normalizeH="0" baseline="0" noProof="0" dirty="0">
                <a:ln>
                  <a:noFill/>
                </a:ln>
                <a:solidFill>
                  <a:srgbClr val="12284C"/>
                </a:solidFill>
                <a:effectLst/>
                <a:uLnTx/>
                <a:uFillTx/>
                <a:latin typeface="Open Sans"/>
                <a:ea typeface="+mn-ea"/>
                <a:cs typeface="+mn-cs"/>
              </a:rPr>
              <a:t>Meet weekly initially to review and approve LEA and non-public school plans</a:t>
            </a:r>
          </a:p>
          <a:p>
            <a:pPr marL="429300" marR="0" lvl="1" indent="-342900" algn="l" defTabSz="914400" rtl="0" eaLnBrk="1" fontAlgn="auto" latinLnBrk="0" hangingPunct="1">
              <a:lnSpc>
                <a:spcPct val="100000"/>
              </a:lnSpc>
              <a:spcBef>
                <a:spcPts val="0"/>
              </a:spcBef>
              <a:spcAft>
                <a:spcPts val="2400"/>
              </a:spcAft>
              <a:buClr>
                <a:srgbClr val="051934"/>
              </a:buClr>
              <a:buSzPct val="100000"/>
              <a:buFont typeface="Wingdings" panose="05000000000000000000" pitchFamily="2" charset="2"/>
              <a:buChar char="Ø"/>
              <a:tabLst/>
              <a:defRPr/>
            </a:pPr>
            <a:r>
              <a:rPr kumimoji="0" lang="en-US" sz="2400" b="0" i="0" u="none" strike="noStrike" kern="1200" cap="none" spc="0" normalizeH="0" baseline="0" noProof="0" dirty="0">
                <a:ln>
                  <a:noFill/>
                </a:ln>
                <a:solidFill>
                  <a:srgbClr val="12284C"/>
                </a:solidFill>
                <a:effectLst/>
                <a:uLnTx/>
                <a:uFillTx/>
                <a:latin typeface="Open Sans"/>
                <a:ea typeface="+mn-ea"/>
                <a:cs typeface="+mn-cs"/>
              </a:rPr>
              <a:t>Reference materials to be shared &amp; posted prior to meetings</a:t>
            </a:r>
          </a:p>
          <a:p>
            <a:pPr marL="429300" marR="0" lvl="1" indent="-342900" algn="l" defTabSz="914400" rtl="0" eaLnBrk="1" fontAlgn="auto" latinLnBrk="0" hangingPunct="1">
              <a:lnSpc>
                <a:spcPct val="100000"/>
              </a:lnSpc>
              <a:spcBef>
                <a:spcPts val="0"/>
              </a:spcBef>
              <a:spcAft>
                <a:spcPts val="2400"/>
              </a:spcAft>
              <a:buClr>
                <a:srgbClr val="051934"/>
              </a:buClr>
              <a:buSzPct val="100000"/>
              <a:buFont typeface="Wingdings" panose="05000000000000000000" pitchFamily="2" charset="2"/>
              <a:buChar char="Ø"/>
              <a:tabLst/>
              <a:defRPr/>
            </a:pPr>
            <a:r>
              <a:rPr kumimoji="0" lang="en-US" sz="2400" b="0" i="0" u="none" strike="noStrike" kern="1200" cap="none" spc="0" normalizeH="0" baseline="0" noProof="0" dirty="0">
                <a:ln>
                  <a:noFill/>
                </a:ln>
                <a:solidFill>
                  <a:srgbClr val="12284C"/>
                </a:solidFill>
                <a:effectLst/>
                <a:uLnTx/>
                <a:uFillTx/>
                <a:latin typeface="Open Sans"/>
                <a:ea typeface="+mn-ea"/>
                <a:cs typeface="+mn-cs"/>
              </a:rPr>
              <a:t>Likely to shift to less regular (e.g., monthly) meetings after initial application review sprint</a:t>
            </a:r>
          </a:p>
        </p:txBody>
      </p:sp>
    </p:spTree>
    <p:extLst>
      <p:ext uri="{BB962C8B-B14F-4D97-AF65-F5344CB8AC3E}">
        <p14:creationId xmlns:p14="http://schemas.microsoft.com/office/powerpoint/2010/main" val="12136616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4739F06A-9D59-DC47-ADFE-020C89158D5B}"/>
              </a:ext>
            </a:extLst>
          </p:cNvPr>
          <p:cNvSpPr/>
          <p:nvPr/>
        </p:nvSpPr>
        <p:spPr>
          <a:xfrm>
            <a:off x="1863532" y="3590576"/>
            <a:ext cx="2045548" cy="238524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4" name="Object 3" hidden="1">
            <a:extLst>
              <a:ext uri="{FF2B5EF4-FFF2-40B4-BE49-F238E27FC236}">
                <a16:creationId xmlns:a16="http://schemas.microsoft.com/office/drawing/2014/main" id="{9096827F-6CE7-4CE3-8C7B-F02EE2004F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7011" name="think-cell Slide" r:id="rId6" imgW="592" imgH="595" progId="TCLayout.ActiveDocument.1">
                  <p:embed/>
                </p:oleObj>
              </mc:Choice>
              <mc:Fallback>
                <p:oleObj name="think-cell Slide" r:id="rId6" imgW="592" imgH="595" progId="TCLayout.ActiveDocument.1">
                  <p:embed/>
                  <p:pic>
                    <p:nvPicPr>
                      <p:cNvPr id="4" name="Object 3" hidden="1">
                        <a:extLst>
                          <a:ext uri="{FF2B5EF4-FFF2-40B4-BE49-F238E27FC236}">
                            <a16:creationId xmlns:a16="http://schemas.microsoft.com/office/drawing/2014/main" id="{9096827F-6CE7-4CE3-8C7B-F02EE2004F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FF2622-D1F1-4F4A-A7F9-41161C8C2FBB}"/>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8" name="Rectangle 7">
            <a:extLst>
              <a:ext uri="{FF2B5EF4-FFF2-40B4-BE49-F238E27FC236}">
                <a16:creationId xmlns:a16="http://schemas.microsoft.com/office/drawing/2014/main" id="{F8136478-BAC4-42D0-8A01-B2AC72633526}"/>
              </a:ext>
            </a:extLst>
          </p:cNvPr>
          <p:cNvSpPr/>
          <p:nvPr/>
        </p:nvSpPr>
        <p:spPr>
          <a:xfrm>
            <a:off x="4034156" y="3598308"/>
            <a:ext cx="7752035" cy="238524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 name="Title 1">
            <a:extLst>
              <a:ext uri="{FF2B5EF4-FFF2-40B4-BE49-F238E27FC236}">
                <a16:creationId xmlns:a16="http://schemas.microsoft.com/office/drawing/2014/main" id="{BC1A3F3D-2BF9-407A-B1FF-552452A2F9CA}"/>
              </a:ext>
            </a:extLst>
          </p:cNvPr>
          <p:cNvSpPr>
            <a:spLocks noGrp="1"/>
          </p:cNvSpPr>
          <p:nvPr>
            <p:ph type="title"/>
          </p:nvPr>
        </p:nvSpPr>
        <p:spPr>
          <a:xfrm>
            <a:off x="534139" y="622910"/>
            <a:ext cx="11123721" cy="886397"/>
          </a:xfrm>
        </p:spPr>
        <p:txBody>
          <a:bodyPr/>
          <a:lstStyle/>
          <a:p>
            <a:r>
              <a:rPr lang="en-US" sz="3200" dirty="0"/>
              <a:t>Federal relief funds intended to further support LEAs and nonpublic schools in addressing these needs</a:t>
            </a:r>
          </a:p>
        </p:txBody>
      </p:sp>
      <p:sp>
        <p:nvSpPr>
          <p:cNvPr id="9" name="Rectangle 8">
            <a:extLst>
              <a:ext uri="{FF2B5EF4-FFF2-40B4-BE49-F238E27FC236}">
                <a16:creationId xmlns:a16="http://schemas.microsoft.com/office/drawing/2014/main" id="{477B5C43-9398-4E5B-AC2B-F6FE3B0821A7}"/>
              </a:ext>
            </a:extLst>
          </p:cNvPr>
          <p:cNvSpPr/>
          <p:nvPr/>
        </p:nvSpPr>
        <p:spPr>
          <a:xfrm>
            <a:off x="239697" y="2203609"/>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Description</a:t>
            </a:r>
          </a:p>
        </p:txBody>
      </p:sp>
      <p:sp>
        <p:nvSpPr>
          <p:cNvPr id="7" name="Rectangle 6">
            <a:extLst>
              <a:ext uri="{FF2B5EF4-FFF2-40B4-BE49-F238E27FC236}">
                <a16:creationId xmlns:a16="http://schemas.microsoft.com/office/drawing/2014/main" id="{C4BA1715-9065-4115-9AC4-A3AE17FC78A8}"/>
              </a:ext>
            </a:extLst>
          </p:cNvPr>
          <p:cNvSpPr/>
          <p:nvPr/>
        </p:nvSpPr>
        <p:spPr>
          <a:xfrm>
            <a:off x="239696" y="3015968"/>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Intended Use</a:t>
            </a:r>
          </a:p>
        </p:txBody>
      </p:sp>
      <p:sp>
        <p:nvSpPr>
          <p:cNvPr id="6" name="Rectangle 5">
            <a:extLst>
              <a:ext uri="{FF2B5EF4-FFF2-40B4-BE49-F238E27FC236}">
                <a16:creationId xmlns:a16="http://schemas.microsoft.com/office/drawing/2014/main" id="{6874CF77-B3A4-4039-9505-914427C6D477}"/>
              </a:ext>
            </a:extLst>
          </p:cNvPr>
          <p:cNvSpPr/>
          <p:nvPr/>
        </p:nvSpPr>
        <p:spPr>
          <a:xfrm>
            <a:off x="239697" y="4101163"/>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Bill</a:t>
            </a:r>
          </a:p>
        </p:txBody>
      </p:sp>
      <p:sp>
        <p:nvSpPr>
          <p:cNvPr id="14" name="Rectangle 13">
            <a:extLst>
              <a:ext uri="{FF2B5EF4-FFF2-40B4-BE49-F238E27FC236}">
                <a16:creationId xmlns:a16="http://schemas.microsoft.com/office/drawing/2014/main" id="{51B24BD9-0E8C-4AE4-9FFB-3AC65A53247D}"/>
              </a:ext>
            </a:extLst>
          </p:cNvPr>
          <p:cNvSpPr/>
          <p:nvPr/>
        </p:nvSpPr>
        <p:spPr>
          <a:xfrm>
            <a:off x="239697" y="4670797"/>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KS Amount</a:t>
            </a:r>
          </a:p>
        </p:txBody>
      </p:sp>
      <p:sp>
        <p:nvSpPr>
          <p:cNvPr id="15" name="Rectangle 14">
            <a:extLst>
              <a:ext uri="{FF2B5EF4-FFF2-40B4-BE49-F238E27FC236}">
                <a16:creationId xmlns:a16="http://schemas.microsoft.com/office/drawing/2014/main" id="{83094584-4A27-456A-9038-DF68EFA10573}"/>
              </a:ext>
            </a:extLst>
          </p:cNvPr>
          <p:cNvSpPr/>
          <p:nvPr/>
        </p:nvSpPr>
        <p:spPr>
          <a:xfrm>
            <a:off x="1793289" y="1937117"/>
            <a:ext cx="6656766" cy="4117453"/>
          </a:xfrm>
          <a:prstGeom prst="rect">
            <a:avLst/>
          </a:prstGeom>
          <a:noFill/>
          <a:ln w="2857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2C8078DB-88BD-4AFE-941A-FEDFFF16BBF0}"/>
              </a:ext>
            </a:extLst>
          </p:cNvPr>
          <p:cNvSpPr/>
          <p:nvPr/>
        </p:nvSpPr>
        <p:spPr>
          <a:xfrm>
            <a:off x="8626122" y="1937117"/>
            <a:ext cx="3237402" cy="4117453"/>
          </a:xfrm>
          <a:prstGeom prst="rect">
            <a:avLst/>
          </a:prstGeom>
          <a:noFill/>
          <a:ln w="2857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FB21B72E-25DA-41CA-B715-D6C244614FFC}"/>
              </a:ext>
            </a:extLst>
          </p:cNvPr>
          <p:cNvSpPr txBox="1"/>
          <p:nvPr/>
        </p:nvSpPr>
        <p:spPr>
          <a:xfrm>
            <a:off x="8786662" y="1752452"/>
            <a:ext cx="2916323" cy="369332"/>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Emergency Assistance to Non-Public Schools (EANS)</a:t>
            </a:r>
          </a:p>
        </p:txBody>
      </p:sp>
      <p:sp>
        <p:nvSpPr>
          <p:cNvPr id="20" name="TextBox 19">
            <a:extLst>
              <a:ext uri="{FF2B5EF4-FFF2-40B4-BE49-F238E27FC236}">
                <a16:creationId xmlns:a16="http://schemas.microsoft.com/office/drawing/2014/main" id="{08166F1D-4567-4209-9919-4171D5A7C116}"/>
              </a:ext>
            </a:extLst>
          </p:cNvPr>
          <p:cNvSpPr txBox="1"/>
          <p:nvPr/>
        </p:nvSpPr>
        <p:spPr>
          <a:xfrm>
            <a:off x="1997162" y="4147774"/>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CARES Act (Mar '20)</a:t>
            </a:r>
          </a:p>
        </p:txBody>
      </p:sp>
      <p:cxnSp>
        <p:nvCxnSpPr>
          <p:cNvPr id="22" name="Straight Connector 21">
            <a:extLst>
              <a:ext uri="{FF2B5EF4-FFF2-40B4-BE49-F238E27FC236}">
                <a16:creationId xmlns:a16="http://schemas.microsoft.com/office/drawing/2014/main" id="{53FD5ECA-8CA5-49C6-9990-52E423CD56EA}"/>
              </a:ext>
            </a:extLst>
          </p:cNvPr>
          <p:cNvCxnSpPr>
            <a:cxnSpLocks/>
          </p:cNvCxnSpPr>
          <p:nvPr/>
        </p:nvCxnSpPr>
        <p:spPr>
          <a:xfrm>
            <a:off x="1793290" y="4093496"/>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8D2196-904B-4FC3-84A2-AAF3207EBC81}"/>
              </a:ext>
            </a:extLst>
          </p:cNvPr>
          <p:cNvCxnSpPr>
            <a:cxnSpLocks/>
          </p:cNvCxnSpPr>
          <p:nvPr/>
        </p:nvCxnSpPr>
        <p:spPr>
          <a:xfrm>
            <a:off x="1793290" y="4569135"/>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20C79DD-D4CA-40F3-ABAB-0601298728DB}"/>
              </a:ext>
            </a:extLst>
          </p:cNvPr>
          <p:cNvSpPr txBox="1"/>
          <p:nvPr/>
        </p:nvSpPr>
        <p:spPr>
          <a:xfrm>
            <a:off x="1793287" y="2203610"/>
            <a:ext cx="6656766" cy="7082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Awarded to SEAs based on Title I formula to provide emergency relief funds to LEAs to address the impact that COVID-19 has had, and continues to have, on elementary and secondary schools across the Nation</a:t>
            </a:r>
          </a:p>
        </p:txBody>
      </p:sp>
      <p:sp>
        <p:nvSpPr>
          <p:cNvPr id="19" name="TextBox 18">
            <a:extLst>
              <a:ext uri="{FF2B5EF4-FFF2-40B4-BE49-F238E27FC236}">
                <a16:creationId xmlns:a16="http://schemas.microsoft.com/office/drawing/2014/main" id="{53D8CBD4-9798-4E2F-80BA-00B48DDF3002}"/>
              </a:ext>
            </a:extLst>
          </p:cNvPr>
          <p:cNvSpPr txBox="1"/>
          <p:nvPr/>
        </p:nvSpPr>
        <p:spPr>
          <a:xfrm>
            <a:off x="1859406" y="1816340"/>
            <a:ext cx="6524527" cy="266492"/>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Elementary &amp; Secondary School Emergency Relief Fund (ESSER)</a:t>
            </a:r>
          </a:p>
        </p:txBody>
      </p:sp>
      <p:cxnSp>
        <p:nvCxnSpPr>
          <p:cNvPr id="26" name="Straight Connector 25">
            <a:extLst>
              <a:ext uri="{FF2B5EF4-FFF2-40B4-BE49-F238E27FC236}">
                <a16:creationId xmlns:a16="http://schemas.microsoft.com/office/drawing/2014/main" id="{B7AB6450-5783-4ECE-A969-C0F552E40CDD}"/>
              </a:ext>
            </a:extLst>
          </p:cNvPr>
          <p:cNvCxnSpPr>
            <a:cxnSpLocks/>
          </p:cNvCxnSpPr>
          <p:nvPr/>
        </p:nvCxnSpPr>
        <p:spPr>
          <a:xfrm>
            <a:off x="1793290" y="3003298"/>
            <a:ext cx="6656763"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AC7D9CA-B53C-43C7-BB22-24AE0E40E1EF}"/>
              </a:ext>
            </a:extLst>
          </p:cNvPr>
          <p:cNvSpPr txBox="1"/>
          <p:nvPr/>
        </p:nvSpPr>
        <p:spPr>
          <a:xfrm>
            <a:off x="1793287" y="3062579"/>
            <a:ext cx="6656766"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Used by LEAs for preventing, preparing for, and responding to COVID-19</a:t>
            </a:r>
          </a:p>
        </p:txBody>
      </p:sp>
      <p:cxnSp>
        <p:nvCxnSpPr>
          <p:cNvPr id="30" name="Straight Connector 29">
            <a:extLst>
              <a:ext uri="{FF2B5EF4-FFF2-40B4-BE49-F238E27FC236}">
                <a16:creationId xmlns:a16="http://schemas.microsoft.com/office/drawing/2014/main" id="{37674CC5-72F2-4B96-AA0A-E571F1F98688}"/>
              </a:ext>
            </a:extLst>
          </p:cNvPr>
          <p:cNvCxnSpPr>
            <a:cxnSpLocks/>
          </p:cNvCxnSpPr>
          <p:nvPr/>
        </p:nvCxnSpPr>
        <p:spPr>
          <a:xfrm>
            <a:off x="1793290" y="3506885"/>
            <a:ext cx="6656763"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0F4BDF79-F9F4-45ED-8DB8-E361EF56E47C}"/>
              </a:ext>
            </a:extLst>
          </p:cNvPr>
          <p:cNvSpPr/>
          <p:nvPr/>
        </p:nvSpPr>
        <p:spPr>
          <a:xfrm>
            <a:off x="239697" y="5224084"/>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Timeframe</a:t>
            </a:r>
          </a:p>
        </p:txBody>
      </p:sp>
      <p:sp>
        <p:nvSpPr>
          <p:cNvPr id="32" name="TextBox 31">
            <a:extLst>
              <a:ext uri="{FF2B5EF4-FFF2-40B4-BE49-F238E27FC236}">
                <a16:creationId xmlns:a16="http://schemas.microsoft.com/office/drawing/2014/main" id="{E0800806-818A-4564-A111-3C0CB5A7E655}"/>
              </a:ext>
            </a:extLst>
          </p:cNvPr>
          <p:cNvSpPr txBox="1"/>
          <p:nvPr/>
        </p:nvSpPr>
        <p:spPr>
          <a:xfrm>
            <a:off x="1959560" y="3786532"/>
            <a:ext cx="1912882" cy="26649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ESSER I</a:t>
            </a:r>
          </a:p>
        </p:txBody>
      </p:sp>
      <p:sp>
        <p:nvSpPr>
          <p:cNvPr id="33" name="TextBox 32">
            <a:extLst>
              <a:ext uri="{FF2B5EF4-FFF2-40B4-BE49-F238E27FC236}">
                <a16:creationId xmlns:a16="http://schemas.microsoft.com/office/drawing/2014/main" id="{3934B30A-402A-4D33-8269-BC18BDA258DC}"/>
              </a:ext>
            </a:extLst>
          </p:cNvPr>
          <p:cNvSpPr txBox="1"/>
          <p:nvPr/>
        </p:nvSpPr>
        <p:spPr>
          <a:xfrm>
            <a:off x="4165229" y="3786532"/>
            <a:ext cx="1912882"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ESSER II</a:t>
            </a:r>
          </a:p>
        </p:txBody>
      </p:sp>
      <p:sp>
        <p:nvSpPr>
          <p:cNvPr id="34" name="TextBox 33">
            <a:extLst>
              <a:ext uri="{FF2B5EF4-FFF2-40B4-BE49-F238E27FC236}">
                <a16:creationId xmlns:a16="http://schemas.microsoft.com/office/drawing/2014/main" id="{D0C2CE97-0FF0-484D-9445-066CB69D933D}"/>
              </a:ext>
            </a:extLst>
          </p:cNvPr>
          <p:cNvSpPr txBox="1"/>
          <p:nvPr/>
        </p:nvSpPr>
        <p:spPr>
          <a:xfrm>
            <a:off x="6406414" y="3786532"/>
            <a:ext cx="1912882"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Open Sans"/>
                <a:ea typeface="+mn-ea"/>
                <a:cs typeface="+mn-cs"/>
              </a:rPr>
              <a:t>ESSER III</a:t>
            </a:r>
          </a:p>
        </p:txBody>
      </p:sp>
      <p:sp>
        <p:nvSpPr>
          <p:cNvPr id="41" name="TextBox 40">
            <a:extLst>
              <a:ext uri="{FF2B5EF4-FFF2-40B4-BE49-F238E27FC236}">
                <a16:creationId xmlns:a16="http://schemas.microsoft.com/office/drawing/2014/main" id="{36E58199-E8E7-484A-A96E-B619EB28E1DD}"/>
              </a:ext>
            </a:extLst>
          </p:cNvPr>
          <p:cNvSpPr txBox="1"/>
          <p:nvPr/>
        </p:nvSpPr>
        <p:spPr>
          <a:xfrm>
            <a:off x="4202832" y="4147774"/>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CRRSA Act (Dec '20)</a:t>
            </a:r>
          </a:p>
        </p:txBody>
      </p:sp>
      <p:cxnSp>
        <p:nvCxnSpPr>
          <p:cNvPr id="42" name="Straight Connector 41">
            <a:extLst>
              <a:ext uri="{FF2B5EF4-FFF2-40B4-BE49-F238E27FC236}">
                <a16:creationId xmlns:a16="http://schemas.microsoft.com/office/drawing/2014/main" id="{2E873740-A8DB-4DEA-974B-E0CFAB245C83}"/>
              </a:ext>
            </a:extLst>
          </p:cNvPr>
          <p:cNvCxnSpPr>
            <a:cxnSpLocks/>
          </p:cNvCxnSpPr>
          <p:nvPr/>
        </p:nvCxnSpPr>
        <p:spPr>
          <a:xfrm>
            <a:off x="4034156" y="410524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E955730-F3BC-4015-A9E0-7F9104F9B216}"/>
              </a:ext>
            </a:extLst>
          </p:cNvPr>
          <p:cNvCxnSpPr>
            <a:cxnSpLocks/>
          </p:cNvCxnSpPr>
          <p:nvPr/>
        </p:nvCxnSpPr>
        <p:spPr>
          <a:xfrm>
            <a:off x="4034156" y="457176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3137F46-4A7A-428E-A760-88BF0D9D2EC5}"/>
              </a:ext>
            </a:extLst>
          </p:cNvPr>
          <p:cNvSpPr txBox="1"/>
          <p:nvPr/>
        </p:nvSpPr>
        <p:spPr>
          <a:xfrm>
            <a:off x="6444016" y="4147774"/>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Open Sans"/>
                <a:ea typeface="+mn-ea"/>
                <a:cs typeface="+mn-cs"/>
              </a:rPr>
              <a:t>ARP Act (</a:t>
            </a:r>
            <a:r>
              <a:rPr lang="en-US" sz="1400" dirty="0">
                <a:solidFill>
                  <a:schemeClr val="tx1"/>
                </a:solidFill>
                <a:latin typeface="Open Sans"/>
              </a:rPr>
              <a:t>Mar ‘21</a:t>
            </a:r>
            <a:r>
              <a:rPr kumimoji="0" lang="en-US" sz="1400" b="0" i="0" u="none" strike="noStrike" kern="1200" cap="none" spc="0" normalizeH="0" baseline="0" noProof="0" dirty="0">
                <a:ln>
                  <a:noFill/>
                </a:ln>
                <a:solidFill>
                  <a:schemeClr val="tx1"/>
                </a:solidFill>
                <a:effectLst/>
                <a:uLnTx/>
                <a:uFillTx/>
                <a:latin typeface="Open Sans"/>
                <a:ea typeface="+mn-ea"/>
                <a:cs typeface="+mn-cs"/>
              </a:rPr>
              <a:t>)</a:t>
            </a:r>
          </a:p>
        </p:txBody>
      </p:sp>
      <p:cxnSp>
        <p:nvCxnSpPr>
          <p:cNvPr id="45" name="Straight Connector 44">
            <a:extLst>
              <a:ext uri="{FF2B5EF4-FFF2-40B4-BE49-F238E27FC236}">
                <a16:creationId xmlns:a16="http://schemas.microsoft.com/office/drawing/2014/main" id="{5731240E-599B-4864-9A28-6983961C6FE4}"/>
              </a:ext>
            </a:extLst>
          </p:cNvPr>
          <p:cNvCxnSpPr>
            <a:cxnSpLocks/>
          </p:cNvCxnSpPr>
          <p:nvPr/>
        </p:nvCxnSpPr>
        <p:spPr>
          <a:xfrm>
            <a:off x="6275341" y="410524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8F9C3C7-7EB0-40B6-AD36-5921CE93160E}"/>
              </a:ext>
            </a:extLst>
          </p:cNvPr>
          <p:cNvCxnSpPr>
            <a:cxnSpLocks/>
          </p:cNvCxnSpPr>
          <p:nvPr/>
        </p:nvCxnSpPr>
        <p:spPr>
          <a:xfrm>
            <a:off x="6275341" y="457176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1029BC17-1E8F-418C-B0E7-EE6B7151B61B}"/>
              </a:ext>
            </a:extLst>
          </p:cNvPr>
          <p:cNvSpPr txBox="1"/>
          <p:nvPr/>
        </p:nvSpPr>
        <p:spPr>
          <a:xfrm>
            <a:off x="1997163" y="4717408"/>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85M</a:t>
            </a:r>
          </a:p>
        </p:txBody>
      </p:sp>
      <p:sp>
        <p:nvSpPr>
          <p:cNvPr id="48" name="TextBox 47">
            <a:extLst>
              <a:ext uri="{FF2B5EF4-FFF2-40B4-BE49-F238E27FC236}">
                <a16:creationId xmlns:a16="http://schemas.microsoft.com/office/drawing/2014/main" id="{65B57E75-0E77-4786-B4F7-B66C8DA37B53}"/>
              </a:ext>
            </a:extLst>
          </p:cNvPr>
          <p:cNvSpPr txBox="1"/>
          <p:nvPr/>
        </p:nvSpPr>
        <p:spPr>
          <a:xfrm>
            <a:off x="4202832" y="4717408"/>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370M </a:t>
            </a:r>
          </a:p>
        </p:txBody>
      </p:sp>
      <p:sp>
        <p:nvSpPr>
          <p:cNvPr id="49" name="TextBox 48">
            <a:extLst>
              <a:ext uri="{FF2B5EF4-FFF2-40B4-BE49-F238E27FC236}">
                <a16:creationId xmlns:a16="http://schemas.microsoft.com/office/drawing/2014/main" id="{90C9F4BD-8993-424C-AB35-662A072B492A}"/>
              </a:ext>
            </a:extLst>
          </p:cNvPr>
          <p:cNvSpPr txBox="1"/>
          <p:nvPr/>
        </p:nvSpPr>
        <p:spPr>
          <a:xfrm>
            <a:off x="6444016" y="4717408"/>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A9A9A"/>
                </a:solidFill>
                <a:effectLst/>
                <a:uLnTx/>
                <a:uFillTx/>
                <a:latin typeface="Open Sans"/>
                <a:ea typeface="+mn-ea"/>
                <a:cs typeface="+mn-cs"/>
              </a:rPr>
              <a:t>TBD</a:t>
            </a:r>
          </a:p>
        </p:txBody>
      </p:sp>
      <p:cxnSp>
        <p:nvCxnSpPr>
          <p:cNvPr id="50" name="Straight Connector 49">
            <a:extLst>
              <a:ext uri="{FF2B5EF4-FFF2-40B4-BE49-F238E27FC236}">
                <a16:creationId xmlns:a16="http://schemas.microsoft.com/office/drawing/2014/main" id="{E8CFD574-4908-4218-9766-FB3450672D43}"/>
              </a:ext>
            </a:extLst>
          </p:cNvPr>
          <p:cNvCxnSpPr>
            <a:cxnSpLocks/>
          </p:cNvCxnSpPr>
          <p:nvPr/>
        </p:nvCxnSpPr>
        <p:spPr>
          <a:xfrm>
            <a:off x="1793290" y="5221458"/>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9F1C865-1E8D-46E2-97B3-C09967E315B8}"/>
              </a:ext>
            </a:extLst>
          </p:cNvPr>
          <p:cNvCxnSpPr>
            <a:cxnSpLocks/>
          </p:cNvCxnSpPr>
          <p:nvPr/>
        </p:nvCxnSpPr>
        <p:spPr>
          <a:xfrm>
            <a:off x="4034156" y="5224084"/>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4B7F890-BA65-4E17-9517-816CE0C0284D}"/>
              </a:ext>
            </a:extLst>
          </p:cNvPr>
          <p:cNvCxnSpPr>
            <a:cxnSpLocks/>
          </p:cNvCxnSpPr>
          <p:nvPr/>
        </p:nvCxnSpPr>
        <p:spPr>
          <a:xfrm>
            <a:off x="6275341" y="5224084"/>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EB7C254-021B-4DF9-B22D-EA846164B83D}"/>
              </a:ext>
            </a:extLst>
          </p:cNvPr>
          <p:cNvSpPr txBox="1"/>
          <p:nvPr/>
        </p:nvSpPr>
        <p:spPr>
          <a:xfrm>
            <a:off x="1813166" y="5430073"/>
            <a:ext cx="2205670"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Usable from Mar '20</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Award by Jun '21</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Obligate by Sep '22</a:t>
            </a:r>
          </a:p>
        </p:txBody>
      </p:sp>
      <p:sp>
        <p:nvSpPr>
          <p:cNvPr id="54" name="TextBox 53">
            <a:extLst>
              <a:ext uri="{FF2B5EF4-FFF2-40B4-BE49-F238E27FC236}">
                <a16:creationId xmlns:a16="http://schemas.microsoft.com/office/drawing/2014/main" id="{AF3F9C59-7598-4435-9384-07E06A75DC4A}"/>
              </a:ext>
            </a:extLst>
          </p:cNvPr>
          <p:cNvSpPr txBox="1"/>
          <p:nvPr/>
        </p:nvSpPr>
        <p:spPr>
          <a:xfrm>
            <a:off x="4018835" y="5430073"/>
            <a:ext cx="2205670"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Usable from Mar '20</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Award by Jan '22</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Obligate by Sep '23</a:t>
            </a:r>
          </a:p>
        </p:txBody>
      </p:sp>
      <p:sp>
        <p:nvSpPr>
          <p:cNvPr id="56" name="TextBox 55">
            <a:extLst>
              <a:ext uri="{FF2B5EF4-FFF2-40B4-BE49-F238E27FC236}">
                <a16:creationId xmlns:a16="http://schemas.microsoft.com/office/drawing/2014/main" id="{7B61A13D-2705-4299-888E-C888523A9CBF}"/>
              </a:ext>
            </a:extLst>
          </p:cNvPr>
          <p:cNvSpPr txBox="1"/>
          <p:nvPr/>
        </p:nvSpPr>
        <p:spPr>
          <a:xfrm>
            <a:off x="6444016" y="5430073"/>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9A9A9A"/>
              </a:solidFill>
              <a:effectLst/>
              <a:uLnTx/>
              <a:uFillTx/>
              <a:latin typeface="Open Sans"/>
              <a:ea typeface="+mn-ea"/>
              <a:cs typeface="+mn-cs"/>
            </a:endParaRPr>
          </a:p>
        </p:txBody>
      </p:sp>
      <p:sp>
        <p:nvSpPr>
          <p:cNvPr id="57" name="TextBox 56">
            <a:extLst>
              <a:ext uri="{FF2B5EF4-FFF2-40B4-BE49-F238E27FC236}">
                <a16:creationId xmlns:a16="http://schemas.microsoft.com/office/drawing/2014/main" id="{A9C42623-BDC6-4F7C-B56C-41126FB9C53A}"/>
              </a:ext>
            </a:extLst>
          </p:cNvPr>
          <p:cNvSpPr txBox="1"/>
          <p:nvPr/>
        </p:nvSpPr>
        <p:spPr>
          <a:xfrm>
            <a:off x="8626122" y="2244630"/>
            <a:ext cx="3237402" cy="7082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Awarded to Governors to provide services or assistance to eligible non-public schools</a:t>
            </a:r>
          </a:p>
        </p:txBody>
      </p:sp>
      <p:sp>
        <p:nvSpPr>
          <p:cNvPr id="58" name="TextBox 57">
            <a:extLst>
              <a:ext uri="{FF2B5EF4-FFF2-40B4-BE49-F238E27FC236}">
                <a16:creationId xmlns:a16="http://schemas.microsoft.com/office/drawing/2014/main" id="{EE2CB38A-3E3F-4204-8AF4-15A7FDFA4664}"/>
              </a:ext>
            </a:extLst>
          </p:cNvPr>
          <p:cNvSpPr txBox="1"/>
          <p:nvPr/>
        </p:nvSpPr>
        <p:spPr>
          <a:xfrm>
            <a:off x="8592090" y="3062579"/>
            <a:ext cx="3305466"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Open Sans"/>
                <a:ea typeface="+mn-ea"/>
                <a:cs typeface="+mn-cs"/>
              </a:rPr>
              <a:t>Address the impact of COVID-19 on non-public school students &amp; teachers</a:t>
            </a:r>
          </a:p>
        </p:txBody>
      </p:sp>
      <p:cxnSp>
        <p:nvCxnSpPr>
          <p:cNvPr id="59" name="Straight Connector 58">
            <a:extLst>
              <a:ext uri="{FF2B5EF4-FFF2-40B4-BE49-F238E27FC236}">
                <a16:creationId xmlns:a16="http://schemas.microsoft.com/office/drawing/2014/main" id="{6089124A-E4B8-4685-854C-E36AAD4C06E1}"/>
              </a:ext>
            </a:extLst>
          </p:cNvPr>
          <p:cNvCxnSpPr>
            <a:cxnSpLocks/>
          </p:cNvCxnSpPr>
          <p:nvPr/>
        </p:nvCxnSpPr>
        <p:spPr>
          <a:xfrm>
            <a:off x="8626122" y="3003298"/>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BB5F8F4-6F7D-4536-B8B1-558DCFC16C20}"/>
              </a:ext>
            </a:extLst>
          </p:cNvPr>
          <p:cNvCxnSpPr>
            <a:cxnSpLocks/>
          </p:cNvCxnSpPr>
          <p:nvPr/>
        </p:nvCxnSpPr>
        <p:spPr>
          <a:xfrm>
            <a:off x="8626122" y="3506885"/>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622799F-9752-49FA-A95E-DC82A0FE5F2B}"/>
              </a:ext>
            </a:extLst>
          </p:cNvPr>
          <p:cNvCxnSpPr>
            <a:cxnSpLocks/>
          </p:cNvCxnSpPr>
          <p:nvPr/>
        </p:nvCxnSpPr>
        <p:spPr>
          <a:xfrm>
            <a:off x="8626122" y="4101368"/>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D25E9AC-B2F1-4CFD-A885-27A7B6BD3BB5}"/>
              </a:ext>
            </a:extLst>
          </p:cNvPr>
          <p:cNvCxnSpPr>
            <a:cxnSpLocks/>
          </p:cNvCxnSpPr>
          <p:nvPr/>
        </p:nvCxnSpPr>
        <p:spPr>
          <a:xfrm>
            <a:off x="8626122" y="4569135"/>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9A0F5A7-4DE2-467C-ADDE-628653F74E47}"/>
              </a:ext>
            </a:extLst>
          </p:cNvPr>
          <p:cNvCxnSpPr>
            <a:cxnSpLocks/>
          </p:cNvCxnSpPr>
          <p:nvPr/>
        </p:nvCxnSpPr>
        <p:spPr>
          <a:xfrm>
            <a:off x="8626122" y="5221458"/>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DBF26F0F-9687-4B72-8A69-396A4EBE25CC}"/>
              </a:ext>
            </a:extLst>
          </p:cNvPr>
          <p:cNvSpPr txBox="1"/>
          <p:nvPr/>
        </p:nvSpPr>
        <p:spPr>
          <a:xfrm>
            <a:off x="8611770" y="4157572"/>
            <a:ext cx="1696496"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RRSA Act (Dec '20)</a:t>
            </a:r>
          </a:p>
        </p:txBody>
      </p:sp>
      <p:sp>
        <p:nvSpPr>
          <p:cNvPr id="66" name="TextBox 65">
            <a:extLst>
              <a:ext uri="{FF2B5EF4-FFF2-40B4-BE49-F238E27FC236}">
                <a16:creationId xmlns:a16="http://schemas.microsoft.com/office/drawing/2014/main" id="{66F52254-0F13-4D4A-90D3-2FAD07F84267}"/>
              </a:ext>
            </a:extLst>
          </p:cNvPr>
          <p:cNvSpPr txBox="1"/>
          <p:nvPr/>
        </p:nvSpPr>
        <p:spPr>
          <a:xfrm>
            <a:off x="8347531" y="4739857"/>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27M</a:t>
            </a:r>
          </a:p>
        </p:txBody>
      </p:sp>
      <p:sp>
        <p:nvSpPr>
          <p:cNvPr id="67" name="TextBox 66">
            <a:extLst>
              <a:ext uri="{FF2B5EF4-FFF2-40B4-BE49-F238E27FC236}">
                <a16:creationId xmlns:a16="http://schemas.microsoft.com/office/drawing/2014/main" id="{FBAFD5D8-7E80-4323-9554-2C5C94AC2C49}"/>
              </a:ext>
            </a:extLst>
          </p:cNvPr>
          <p:cNvSpPr txBox="1"/>
          <p:nvPr/>
        </p:nvSpPr>
        <p:spPr>
          <a:xfrm>
            <a:off x="8499516" y="5406088"/>
            <a:ext cx="2146990"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12284C"/>
                </a:solidFill>
                <a:effectLst/>
                <a:uLnTx/>
                <a:uFillTx/>
                <a:latin typeface="Open Sans Light" panose="020B0306030504020204"/>
                <a:ea typeface="+mn-ea"/>
                <a:cs typeface="+mn-cs"/>
              </a:rPr>
              <a:t>Usable from Mar '20</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12284C"/>
                </a:solidFill>
                <a:effectLst/>
                <a:uLnTx/>
                <a:uFillTx/>
                <a:latin typeface="Open Sans Light" panose="020B0306030504020204"/>
                <a:ea typeface="+mn-ea"/>
                <a:cs typeface="+mn-cs"/>
              </a:rPr>
              <a:t>Obligate by Aug '21</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12284C"/>
                </a:solidFill>
                <a:effectLst/>
                <a:uLnTx/>
                <a:uFillTx/>
                <a:latin typeface="Open Sans Light" panose="020B0306030504020204"/>
                <a:ea typeface="+mn-ea"/>
                <a:cs typeface="+mn-cs"/>
              </a:rPr>
              <a:t>Services through Sep '23</a:t>
            </a:r>
          </a:p>
        </p:txBody>
      </p:sp>
      <p:sp>
        <p:nvSpPr>
          <p:cNvPr id="10" name="TextBox 9">
            <a:extLst>
              <a:ext uri="{FF2B5EF4-FFF2-40B4-BE49-F238E27FC236}">
                <a16:creationId xmlns:a16="http://schemas.microsoft.com/office/drawing/2014/main" id="{94D1FE43-00F7-4D79-A7D1-9ADE05611977}"/>
              </a:ext>
            </a:extLst>
          </p:cNvPr>
          <p:cNvSpPr txBox="1"/>
          <p:nvPr/>
        </p:nvSpPr>
        <p:spPr>
          <a:xfrm>
            <a:off x="6569477" y="3478941"/>
            <a:ext cx="2453196" cy="256392"/>
          </a:xfrm>
          <a:prstGeom prst="rect">
            <a:avLst/>
          </a:prstGeom>
          <a:solidFill>
            <a:srgbClr val="07B597"/>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Open Sans"/>
                <a:ea typeface="+mn-ea"/>
                <a:cs typeface="+mn-cs"/>
              </a:rPr>
              <a:t>Focus of this Task Force</a:t>
            </a:r>
          </a:p>
        </p:txBody>
      </p:sp>
      <p:sp>
        <p:nvSpPr>
          <p:cNvPr id="55" name="TextBox 54">
            <a:extLst>
              <a:ext uri="{FF2B5EF4-FFF2-40B4-BE49-F238E27FC236}">
                <a16:creationId xmlns:a16="http://schemas.microsoft.com/office/drawing/2014/main" id="{8AAF948C-5933-634F-8F0F-0EFC9A366833}"/>
              </a:ext>
            </a:extLst>
          </p:cNvPr>
          <p:cNvSpPr txBox="1"/>
          <p:nvPr/>
        </p:nvSpPr>
        <p:spPr>
          <a:xfrm>
            <a:off x="6078111" y="5280231"/>
            <a:ext cx="2318057" cy="6400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lvl="1" indent="-151200">
              <a:buClr>
                <a:srgbClr val="12284C"/>
              </a:buClr>
              <a:buSzPct val="100000"/>
              <a:buFont typeface="Trebuchet MS" panose="020B0603020202020204" pitchFamily="34" charset="0"/>
              <a:buChar char="•"/>
            </a:pPr>
            <a:r>
              <a:rPr lang="en-US" sz="140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Usable from Mar '20</a:t>
            </a:r>
          </a:p>
          <a:p>
            <a:pPr marL="226800" lvl="1" indent="-151200">
              <a:buClr>
                <a:srgbClr val="12284C"/>
              </a:buClr>
              <a:buSzPct val="100000"/>
              <a:buFont typeface="Trebuchet MS" panose="020B0603020202020204" pitchFamily="34" charset="0"/>
              <a:buChar char="•"/>
            </a:pPr>
            <a:r>
              <a:rPr lang="en-US" sz="140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Award within 60 days</a:t>
            </a:r>
          </a:p>
          <a:p>
            <a:pPr marL="226800" lvl="1" indent="-151200">
              <a:buClr>
                <a:srgbClr val="12284C"/>
              </a:buClr>
              <a:buSzPct val="100000"/>
              <a:buFont typeface="Trebuchet MS" panose="020B0603020202020204" pitchFamily="34" charset="0"/>
              <a:buChar char="•"/>
            </a:pPr>
            <a:r>
              <a:rPr lang="en-US" sz="140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Obligate by Sep '24</a:t>
            </a:r>
          </a:p>
        </p:txBody>
      </p:sp>
      <p:sp>
        <p:nvSpPr>
          <p:cNvPr id="61" name="TextBox 60">
            <a:extLst>
              <a:ext uri="{FF2B5EF4-FFF2-40B4-BE49-F238E27FC236}">
                <a16:creationId xmlns:a16="http://schemas.microsoft.com/office/drawing/2014/main" id="{4F68B6AE-A54D-C745-A793-CC6BCAA4C4C2}"/>
              </a:ext>
            </a:extLst>
          </p:cNvPr>
          <p:cNvSpPr txBox="1"/>
          <p:nvPr/>
        </p:nvSpPr>
        <p:spPr>
          <a:xfrm>
            <a:off x="8318978" y="3791536"/>
            <a:ext cx="1912882"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Open Sans"/>
                <a:ea typeface="+mn-ea"/>
                <a:cs typeface="+mn-cs"/>
              </a:rPr>
              <a:t>EANS I</a:t>
            </a:r>
          </a:p>
        </p:txBody>
      </p:sp>
      <p:sp>
        <p:nvSpPr>
          <p:cNvPr id="68" name="TextBox 67">
            <a:extLst>
              <a:ext uri="{FF2B5EF4-FFF2-40B4-BE49-F238E27FC236}">
                <a16:creationId xmlns:a16="http://schemas.microsoft.com/office/drawing/2014/main" id="{D700F70A-F6A0-A04B-ADCD-6C5A2BE28E85}"/>
              </a:ext>
            </a:extLst>
          </p:cNvPr>
          <p:cNvSpPr txBox="1"/>
          <p:nvPr/>
        </p:nvSpPr>
        <p:spPr>
          <a:xfrm>
            <a:off x="10076894" y="3783567"/>
            <a:ext cx="1912882"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Open Sans"/>
                <a:ea typeface="+mn-ea"/>
                <a:cs typeface="+mn-cs"/>
              </a:rPr>
              <a:t>EANS II</a:t>
            </a:r>
          </a:p>
        </p:txBody>
      </p:sp>
      <p:sp>
        <p:nvSpPr>
          <p:cNvPr id="69" name="TextBox 68">
            <a:extLst>
              <a:ext uri="{FF2B5EF4-FFF2-40B4-BE49-F238E27FC236}">
                <a16:creationId xmlns:a16="http://schemas.microsoft.com/office/drawing/2014/main" id="{DEF6AFDA-3596-7442-9650-878A156B0DB5}"/>
              </a:ext>
            </a:extLst>
          </p:cNvPr>
          <p:cNvSpPr txBox="1"/>
          <p:nvPr/>
        </p:nvSpPr>
        <p:spPr>
          <a:xfrm>
            <a:off x="10185208" y="4730138"/>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A9A9A"/>
                </a:solidFill>
                <a:effectLst/>
                <a:uLnTx/>
                <a:uFillTx/>
                <a:latin typeface="Open Sans"/>
                <a:ea typeface="+mn-ea"/>
                <a:cs typeface="+mn-cs"/>
              </a:rPr>
              <a:t>TBD</a:t>
            </a:r>
          </a:p>
        </p:txBody>
      </p:sp>
      <p:sp>
        <p:nvSpPr>
          <p:cNvPr id="70" name="TextBox 69">
            <a:extLst>
              <a:ext uri="{FF2B5EF4-FFF2-40B4-BE49-F238E27FC236}">
                <a16:creationId xmlns:a16="http://schemas.microsoft.com/office/drawing/2014/main" id="{DA0920ED-E824-4E4F-9962-AFA059E685A8}"/>
              </a:ext>
            </a:extLst>
          </p:cNvPr>
          <p:cNvSpPr txBox="1"/>
          <p:nvPr/>
        </p:nvSpPr>
        <p:spPr>
          <a:xfrm>
            <a:off x="10185208" y="5276693"/>
            <a:ext cx="1901131" cy="6400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lvl="1" indent="-151200">
              <a:buClr>
                <a:srgbClr val="12284C"/>
              </a:buClr>
              <a:buSzPct val="100000"/>
              <a:buFont typeface="Trebuchet MS" panose="020B0603020202020204" pitchFamily="34" charset="0"/>
              <a:buChar char="•"/>
            </a:pPr>
            <a:r>
              <a:rPr lang="en-US" sz="100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Award within 60 days</a:t>
            </a:r>
          </a:p>
          <a:p>
            <a:pPr marL="226800" lvl="1" indent="-151200">
              <a:buClr>
                <a:srgbClr val="12284C"/>
              </a:buClr>
              <a:buSzPct val="100000"/>
              <a:buFont typeface="Trebuchet MS" panose="020B0603020202020204" pitchFamily="34" charset="0"/>
              <a:buChar char="•"/>
            </a:pPr>
            <a:r>
              <a:rPr lang="en-US" sz="100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Obligate by Sep '24</a:t>
            </a:r>
          </a:p>
        </p:txBody>
      </p:sp>
      <p:sp>
        <p:nvSpPr>
          <p:cNvPr id="71" name="TextBox 70">
            <a:extLst>
              <a:ext uri="{FF2B5EF4-FFF2-40B4-BE49-F238E27FC236}">
                <a16:creationId xmlns:a16="http://schemas.microsoft.com/office/drawing/2014/main" id="{BAB9250A-EAA8-5045-BBF6-434025D6C1F8}"/>
              </a:ext>
            </a:extLst>
          </p:cNvPr>
          <p:cNvSpPr txBox="1"/>
          <p:nvPr/>
        </p:nvSpPr>
        <p:spPr>
          <a:xfrm>
            <a:off x="10114496" y="4148986"/>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Open Sans"/>
                <a:ea typeface="+mn-ea"/>
                <a:cs typeface="+mn-cs"/>
              </a:rPr>
              <a:t>ARP Act (</a:t>
            </a:r>
            <a:r>
              <a:rPr lang="en-US" sz="1200" dirty="0">
                <a:solidFill>
                  <a:schemeClr val="tx1"/>
                </a:solidFill>
                <a:latin typeface="Open Sans"/>
              </a:rPr>
              <a:t>Mar ‘21</a:t>
            </a:r>
            <a:r>
              <a:rPr kumimoji="0" lang="en-US" sz="1200" b="0" i="0" u="none" strike="noStrike" kern="1200" cap="none" spc="0" normalizeH="0" baseline="0" noProof="0" dirty="0">
                <a:ln>
                  <a:noFill/>
                </a:ln>
                <a:solidFill>
                  <a:schemeClr val="tx1"/>
                </a:solidFill>
                <a:effectLst/>
                <a:uLnTx/>
                <a:uFillTx/>
                <a:latin typeface="Open Sans"/>
                <a:ea typeface="+mn-ea"/>
                <a:cs typeface="+mn-cs"/>
              </a:rPr>
              <a:t>)</a:t>
            </a:r>
          </a:p>
        </p:txBody>
      </p:sp>
    </p:spTree>
    <p:extLst>
      <p:ext uri="{BB962C8B-B14F-4D97-AF65-F5344CB8AC3E}">
        <p14:creationId xmlns:p14="http://schemas.microsoft.com/office/powerpoint/2010/main" val="3398374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1"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dissolve">
                                      <p:cBhvr>
                                        <p:cTn id="7" dur="500"/>
                                        <p:tgtEl>
                                          <p:spTgt spid="7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dissolve">
                                      <p:cBhvr>
                                        <p:cTn id="12" dur="2000"/>
                                        <p:tgtEl>
                                          <p:spTgt spid="10"/>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2000"/>
                                        <p:tgtEl>
                                          <p:spTgt spid="8"/>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72"/>
                                        </p:tgtEl>
                                        <p:attrNameLst>
                                          <p:attrName>style.visibility</p:attrName>
                                        </p:attrNameLst>
                                      </p:cBhvr>
                                      <p:to>
                                        <p:strVal val="visible"/>
                                      </p:to>
                                    </p:set>
                                    <p:animEffect transition="in" filter="dissolve">
                                      <p:cBhvr>
                                        <p:cTn id="18" dur="20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2" grpId="1" animBg="1"/>
      <p:bldP spid="8" grpId="0" animBg="1"/>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B0BA80-AB8D-430B-9E3A-F2C2A5AA8C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9059"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3CB0BA80-AB8D-430B-9E3A-F2C2A5AA8C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3760BD-CB03-4687-BDF3-E9C13F2A4423}"/>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2" name="Title 1">
            <a:extLst>
              <a:ext uri="{FF2B5EF4-FFF2-40B4-BE49-F238E27FC236}">
                <a16:creationId xmlns:a16="http://schemas.microsoft.com/office/drawing/2014/main" id="{A6283C5D-06E3-4200-B782-97A854A0833B}"/>
              </a:ext>
            </a:extLst>
          </p:cNvPr>
          <p:cNvSpPr>
            <a:spLocks noGrp="1"/>
          </p:cNvSpPr>
          <p:nvPr>
            <p:ph type="title"/>
          </p:nvPr>
        </p:nvSpPr>
        <p:spPr>
          <a:xfrm>
            <a:off x="630000" y="622800"/>
            <a:ext cx="10933200" cy="941796"/>
          </a:xfrm>
        </p:spPr>
        <p:txBody>
          <a:bodyPr/>
          <a:lstStyle/>
          <a:p>
            <a:r>
              <a:rPr lang="en-US" dirty="0"/>
              <a:t>Key differences between EANS/ESSER suggest a differentiated application approval approach</a:t>
            </a:r>
          </a:p>
        </p:txBody>
      </p:sp>
      <p:sp>
        <p:nvSpPr>
          <p:cNvPr id="6" name="TextBox 5">
            <a:extLst>
              <a:ext uri="{FF2B5EF4-FFF2-40B4-BE49-F238E27FC236}">
                <a16:creationId xmlns:a16="http://schemas.microsoft.com/office/drawing/2014/main" id="{6F2DEE50-F4C0-47E6-8F04-6FBA1795A465}"/>
              </a:ext>
            </a:extLst>
          </p:cNvPr>
          <p:cNvSpPr txBox="1"/>
          <p:nvPr/>
        </p:nvSpPr>
        <p:spPr>
          <a:xfrm>
            <a:off x="4690344" y="1705169"/>
            <a:ext cx="1870254" cy="5232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2284C"/>
                </a:solidFill>
                <a:effectLst/>
                <a:uLnTx/>
                <a:uFillTx/>
                <a:latin typeface="Open Sans"/>
                <a:ea typeface="+mn-ea"/>
                <a:cs typeface="+mn-cs"/>
              </a:rPr>
              <a:t>EANS I</a:t>
            </a:r>
          </a:p>
        </p:txBody>
      </p:sp>
      <p:sp>
        <p:nvSpPr>
          <p:cNvPr id="7" name="TextBox 6">
            <a:extLst>
              <a:ext uri="{FF2B5EF4-FFF2-40B4-BE49-F238E27FC236}">
                <a16:creationId xmlns:a16="http://schemas.microsoft.com/office/drawing/2014/main" id="{B4C4104A-7118-4891-A708-53B082763C15}"/>
              </a:ext>
            </a:extLst>
          </p:cNvPr>
          <p:cNvSpPr txBox="1"/>
          <p:nvPr/>
        </p:nvSpPr>
        <p:spPr>
          <a:xfrm>
            <a:off x="8596519" y="1705169"/>
            <a:ext cx="1870254" cy="5232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2284C"/>
                </a:solidFill>
                <a:effectLst/>
                <a:uLnTx/>
                <a:uFillTx/>
                <a:latin typeface="Open Sans"/>
                <a:ea typeface="+mn-ea"/>
                <a:cs typeface="+mn-cs"/>
              </a:rPr>
              <a:t>ESSER II</a:t>
            </a:r>
          </a:p>
        </p:txBody>
      </p:sp>
      <p:sp>
        <p:nvSpPr>
          <p:cNvPr id="8" name="TextBox 7">
            <a:extLst>
              <a:ext uri="{FF2B5EF4-FFF2-40B4-BE49-F238E27FC236}">
                <a16:creationId xmlns:a16="http://schemas.microsoft.com/office/drawing/2014/main" id="{71520B13-2BDA-4E64-A18E-8C40271C7341}"/>
              </a:ext>
            </a:extLst>
          </p:cNvPr>
          <p:cNvSpPr txBox="1"/>
          <p:nvPr/>
        </p:nvSpPr>
        <p:spPr>
          <a:xfrm>
            <a:off x="896645" y="2351120"/>
            <a:ext cx="1970843" cy="4882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5487"/>
                </a:solidFill>
                <a:effectLst/>
                <a:uLnTx/>
                <a:uFillTx/>
                <a:latin typeface="Open Sans"/>
                <a:ea typeface="+mn-ea"/>
                <a:cs typeface="+mn-cs"/>
              </a:rPr>
              <a:t>Required response time</a:t>
            </a:r>
          </a:p>
        </p:txBody>
      </p:sp>
      <p:sp>
        <p:nvSpPr>
          <p:cNvPr id="9" name="TextBox 8">
            <a:extLst>
              <a:ext uri="{FF2B5EF4-FFF2-40B4-BE49-F238E27FC236}">
                <a16:creationId xmlns:a16="http://schemas.microsoft.com/office/drawing/2014/main" id="{E0B7EDE2-0F17-41BB-BC44-2242239864F9}"/>
              </a:ext>
            </a:extLst>
          </p:cNvPr>
          <p:cNvSpPr txBox="1"/>
          <p:nvPr/>
        </p:nvSpPr>
        <p:spPr>
          <a:xfrm>
            <a:off x="4107389" y="2272090"/>
            <a:ext cx="3036163"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30 days from SEA receipt of application from school</a:t>
            </a:r>
          </a:p>
        </p:txBody>
      </p:sp>
      <p:sp>
        <p:nvSpPr>
          <p:cNvPr id="10" name="TextBox 9">
            <a:extLst>
              <a:ext uri="{FF2B5EF4-FFF2-40B4-BE49-F238E27FC236}">
                <a16:creationId xmlns:a16="http://schemas.microsoft.com/office/drawing/2014/main" id="{43C8A35B-3E79-45CE-8CDE-85D5A7AB0186}"/>
              </a:ext>
            </a:extLst>
          </p:cNvPr>
          <p:cNvSpPr txBox="1"/>
          <p:nvPr/>
        </p:nvSpPr>
        <p:spPr>
          <a:xfrm>
            <a:off x="896645" y="3283013"/>
            <a:ext cx="1970843" cy="4882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5487"/>
                </a:solidFill>
                <a:effectLst/>
                <a:uLnTx/>
                <a:uFillTx/>
                <a:latin typeface="Open Sans"/>
                <a:ea typeface="+mn-ea"/>
                <a:cs typeface="+mn-cs"/>
              </a:rPr>
              <a:t>Allocation of funds</a:t>
            </a:r>
          </a:p>
        </p:txBody>
      </p:sp>
      <p:sp>
        <p:nvSpPr>
          <p:cNvPr id="11" name="TextBox 10">
            <a:extLst>
              <a:ext uri="{FF2B5EF4-FFF2-40B4-BE49-F238E27FC236}">
                <a16:creationId xmlns:a16="http://schemas.microsoft.com/office/drawing/2014/main" id="{51313FF8-E717-4526-98BC-AA834AB53FC3}"/>
              </a:ext>
            </a:extLst>
          </p:cNvPr>
          <p:cNvSpPr txBox="1"/>
          <p:nvPr/>
        </p:nvSpPr>
        <p:spPr>
          <a:xfrm>
            <a:off x="4107389" y="3065484"/>
            <a:ext cx="3036163"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Single pool of funds to be distributed by Task Force among applying schools</a:t>
            </a:r>
          </a:p>
        </p:txBody>
      </p:sp>
      <p:sp>
        <p:nvSpPr>
          <p:cNvPr id="12" name="TextBox 11">
            <a:extLst>
              <a:ext uri="{FF2B5EF4-FFF2-40B4-BE49-F238E27FC236}">
                <a16:creationId xmlns:a16="http://schemas.microsoft.com/office/drawing/2014/main" id="{95D977A8-C3ED-4C59-9739-7BD906DD72D4}"/>
              </a:ext>
            </a:extLst>
          </p:cNvPr>
          <p:cNvSpPr txBox="1"/>
          <p:nvPr/>
        </p:nvSpPr>
        <p:spPr>
          <a:xfrm>
            <a:off x="8013564" y="3065485"/>
            <a:ext cx="3036163"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Pre-allocated amounts for each LEA based on Title I formula</a:t>
            </a:r>
          </a:p>
        </p:txBody>
      </p:sp>
      <p:sp>
        <p:nvSpPr>
          <p:cNvPr id="13" name="TextBox 12">
            <a:extLst>
              <a:ext uri="{FF2B5EF4-FFF2-40B4-BE49-F238E27FC236}">
                <a16:creationId xmlns:a16="http://schemas.microsoft.com/office/drawing/2014/main" id="{4C76AE6B-1A22-49ED-B5CA-932FC1E2B8EA}"/>
              </a:ext>
            </a:extLst>
          </p:cNvPr>
          <p:cNvSpPr txBox="1"/>
          <p:nvPr/>
        </p:nvSpPr>
        <p:spPr>
          <a:xfrm>
            <a:off x="8013563" y="2272090"/>
            <a:ext cx="3036163"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1 year from SEA receipt of funds from USDOE</a:t>
            </a:r>
          </a:p>
        </p:txBody>
      </p:sp>
      <p:sp>
        <p:nvSpPr>
          <p:cNvPr id="14" name="TextBox 13">
            <a:extLst>
              <a:ext uri="{FF2B5EF4-FFF2-40B4-BE49-F238E27FC236}">
                <a16:creationId xmlns:a16="http://schemas.microsoft.com/office/drawing/2014/main" id="{EBAFE53B-ECD5-417D-844C-0A6329C4E2C2}"/>
              </a:ext>
            </a:extLst>
          </p:cNvPr>
          <p:cNvSpPr txBox="1"/>
          <p:nvPr/>
        </p:nvSpPr>
        <p:spPr>
          <a:xfrm>
            <a:off x="896645" y="4155801"/>
            <a:ext cx="1970843" cy="4882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5487"/>
                </a:solidFill>
                <a:effectLst/>
                <a:uLnTx/>
                <a:uFillTx/>
                <a:latin typeface="Open Sans"/>
                <a:ea typeface="+mn-ea"/>
                <a:cs typeface="+mn-cs"/>
              </a:rPr>
              <a:t>Avg. expected award</a:t>
            </a:r>
          </a:p>
        </p:txBody>
      </p:sp>
      <p:sp>
        <p:nvSpPr>
          <p:cNvPr id="15" name="TextBox 14">
            <a:extLst>
              <a:ext uri="{FF2B5EF4-FFF2-40B4-BE49-F238E27FC236}">
                <a16:creationId xmlns:a16="http://schemas.microsoft.com/office/drawing/2014/main" id="{31C8D128-25D7-43C6-9C2B-2DD3B6AA40ED}"/>
              </a:ext>
            </a:extLst>
          </p:cNvPr>
          <p:cNvSpPr txBox="1"/>
          <p:nvPr/>
        </p:nvSpPr>
        <p:spPr>
          <a:xfrm>
            <a:off x="4107389" y="4215271"/>
            <a:ext cx="3036163"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Up to $150-300k per school</a:t>
            </a:r>
          </a:p>
        </p:txBody>
      </p:sp>
      <p:sp>
        <p:nvSpPr>
          <p:cNvPr id="16" name="TextBox 15">
            <a:extLst>
              <a:ext uri="{FF2B5EF4-FFF2-40B4-BE49-F238E27FC236}">
                <a16:creationId xmlns:a16="http://schemas.microsoft.com/office/drawing/2014/main" id="{719A603F-A001-4DDA-99C2-477A119D30F9}"/>
              </a:ext>
            </a:extLst>
          </p:cNvPr>
          <p:cNvSpPr txBox="1"/>
          <p:nvPr/>
        </p:nvSpPr>
        <p:spPr>
          <a:xfrm>
            <a:off x="8013564" y="4215271"/>
            <a:ext cx="3036163"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1.15M per district</a:t>
            </a:r>
          </a:p>
        </p:txBody>
      </p:sp>
      <p:grpSp>
        <p:nvGrpSpPr>
          <p:cNvPr id="18" name="Group 17">
            <a:extLst>
              <a:ext uri="{FF2B5EF4-FFF2-40B4-BE49-F238E27FC236}">
                <a16:creationId xmlns:a16="http://schemas.microsoft.com/office/drawing/2014/main" id="{801B1AE1-67AA-44DC-98B2-E7F4ECA55DD2}"/>
              </a:ext>
            </a:extLst>
          </p:cNvPr>
          <p:cNvGrpSpPr>
            <a:grpSpLocks noChangeAspect="1"/>
          </p:cNvGrpSpPr>
          <p:nvPr/>
        </p:nvGrpSpPr>
        <p:grpSpPr>
          <a:xfrm rot="5400000">
            <a:off x="5472015" y="4837135"/>
            <a:ext cx="306910" cy="306910"/>
            <a:chOff x="982662" y="1847850"/>
            <a:chExt cx="269875" cy="269875"/>
          </a:xfrm>
        </p:grpSpPr>
        <p:sp>
          <p:nvSpPr>
            <p:cNvPr id="19" name="Oval 50">
              <a:extLst>
                <a:ext uri="{FF2B5EF4-FFF2-40B4-BE49-F238E27FC236}">
                  <a16:creationId xmlns:a16="http://schemas.microsoft.com/office/drawing/2014/main" id="{1769AA83-9B36-4F60-9F46-457169D752C6}"/>
                </a:ext>
              </a:extLst>
            </p:cNvPr>
            <p:cNvSpPr>
              <a:spLocks noChangeArrowheads="1"/>
            </p:cNvSpPr>
            <p:nvPr/>
          </p:nvSpPr>
          <p:spPr bwMode="auto">
            <a:xfrm>
              <a:off x="982662" y="1847850"/>
              <a:ext cx="269875" cy="269875"/>
            </a:xfrm>
            <a:prstGeom prst="ellipse">
              <a:avLst/>
            </a:prstGeom>
            <a:solidFill>
              <a:srgbClr val="07B5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0" name="Freeform 51">
              <a:extLst>
                <a:ext uri="{FF2B5EF4-FFF2-40B4-BE49-F238E27FC236}">
                  <a16:creationId xmlns:a16="http://schemas.microsoft.com/office/drawing/2014/main" id="{9DD20F99-8545-428D-87FE-5030243C25C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21" name="Group 20">
            <a:extLst>
              <a:ext uri="{FF2B5EF4-FFF2-40B4-BE49-F238E27FC236}">
                <a16:creationId xmlns:a16="http://schemas.microsoft.com/office/drawing/2014/main" id="{F1037B52-6898-4790-95D2-BBF6F3C47463}"/>
              </a:ext>
            </a:extLst>
          </p:cNvPr>
          <p:cNvGrpSpPr>
            <a:grpSpLocks noChangeAspect="1"/>
          </p:cNvGrpSpPr>
          <p:nvPr/>
        </p:nvGrpSpPr>
        <p:grpSpPr>
          <a:xfrm rot="5400000">
            <a:off x="9378189" y="4837135"/>
            <a:ext cx="306910" cy="306910"/>
            <a:chOff x="982662" y="1847850"/>
            <a:chExt cx="269875" cy="269875"/>
          </a:xfrm>
        </p:grpSpPr>
        <p:sp>
          <p:nvSpPr>
            <p:cNvPr id="22" name="Oval 50">
              <a:extLst>
                <a:ext uri="{FF2B5EF4-FFF2-40B4-BE49-F238E27FC236}">
                  <a16:creationId xmlns:a16="http://schemas.microsoft.com/office/drawing/2014/main" id="{C451BE06-05D5-416C-9E71-18BD05099EEA}"/>
                </a:ext>
              </a:extLst>
            </p:cNvPr>
            <p:cNvSpPr>
              <a:spLocks noChangeArrowheads="1"/>
            </p:cNvSpPr>
            <p:nvPr/>
          </p:nvSpPr>
          <p:spPr bwMode="auto">
            <a:xfrm>
              <a:off x="982662" y="1847850"/>
              <a:ext cx="269875" cy="269875"/>
            </a:xfrm>
            <a:prstGeom prst="ellipse">
              <a:avLst/>
            </a:prstGeom>
            <a:solidFill>
              <a:srgbClr val="07B5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3" name="Freeform 51">
              <a:extLst>
                <a:ext uri="{FF2B5EF4-FFF2-40B4-BE49-F238E27FC236}">
                  <a16:creationId xmlns:a16="http://schemas.microsoft.com/office/drawing/2014/main" id="{63134EE0-0F56-48A5-91BE-52A757DC020C}"/>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cxnSp>
        <p:nvCxnSpPr>
          <p:cNvPr id="25" name="Straight Connector 24">
            <a:extLst>
              <a:ext uri="{FF2B5EF4-FFF2-40B4-BE49-F238E27FC236}">
                <a16:creationId xmlns:a16="http://schemas.microsoft.com/office/drawing/2014/main" id="{A35FB61A-7A8E-4642-9D36-6076DFDE7386}"/>
              </a:ext>
            </a:extLst>
          </p:cNvPr>
          <p:cNvCxnSpPr/>
          <p:nvPr/>
        </p:nvCxnSpPr>
        <p:spPr>
          <a:xfrm>
            <a:off x="3719744" y="1805994"/>
            <a:ext cx="0" cy="4092325"/>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92C8C0F-E72C-4A70-AC77-5EC365A2278C}"/>
              </a:ext>
            </a:extLst>
          </p:cNvPr>
          <p:cNvCxnSpPr/>
          <p:nvPr/>
        </p:nvCxnSpPr>
        <p:spPr>
          <a:xfrm>
            <a:off x="7578558" y="1805994"/>
            <a:ext cx="0" cy="4092325"/>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36B4679-AC2E-401C-BF05-0C0F84883FEF}"/>
              </a:ext>
            </a:extLst>
          </p:cNvPr>
          <p:cNvCxnSpPr>
            <a:cxnSpLocks/>
          </p:cNvCxnSpPr>
          <p:nvPr/>
        </p:nvCxnSpPr>
        <p:spPr>
          <a:xfrm>
            <a:off x="736847" y="2991953"/>
            <a:ext cx="10688714"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B697206-60DE-4D6B-90A6-D1C26D8FD08E}"/>
              </a:ext>
            </a:extLst>
          </p:cNvPr>
          <p:cNvCxnSpPr/>
          <p:nvPr/>
        </p:nvCxnSpPr>
        <p:spPr>
          <a:xfrm>
            <a:off x="736847" y="4062347"/>
            <a:ext cx="10688714"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92A0519-6344-4B6E-AF33-2C1B25745FCB}"/>
              </a:ext>
            </a:extLst>
          </p:cNvPr>
          <p:cNvCxnSpPr/>
          <p:nvPr/>
        </p:nvCxnSpPr>
        <p:spPr>
          <a:xfrm>
            <a:off x="736847" y="4749732"/>
            <a:ext cx="10688714"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EFF5F69-86C3-40E4-8CC8-1C9CF712A1B5}"/>
              </a:ext>
            </a:extLst>
          </p:cNvPr>
          <p:cNvSpPr txBox="1"/>
          <p:nvPr/>
        </p:nvSpPr>
        <p:spPr>
          <a:xfrm>
            <a:off x="896645" y="5426115"/>
            <a:ext cx="1970843" cy="4882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7B597"/>
                </a:solidFill>
                <a:effectLst/>
                <a:uLnTx/>
                <a:uFillTx/>
                <a:latin typeface="Open Sans"/>
                <a:ea typeface="+mn-ea"/>
                <a:cs typeface="+mn-cs"/>
              </a:rPr>
              <a:t>Suggested Task Force Approach</a:t>
            </a:r>
          </a:p>
        </p:txBody>
      </p:sp>
      <p:grpSp>
        <p:nvGrpSpPr>
          <p:cNvPr id="34" name="Group 33">
            <a:extLst>
              <a:ext uri="{FF2B5EF4-FFF2-40B4-BE49-F238E27FC236}">
                <a16:creationId xmlns:a16="http://schemas.microsoft.com/office/drawing/2014/main" id="{18624601-9C9C-4378-AE69-F745DCA2D0CA}"/>
              </a:ext>
            </a:extLst>
          </p:cNvPr>
          <p:cNvGrpSpPr>
            <a:grpSpLocks noChangeAspect="1"/>
          </p:cNvGrpSpPr>
          <p:nvPr/>
        </p:nvGrpSpPr>
        <p:grpSpPr>
          <a:xfrm rot="5400000">
            <a:off x="1728611" y="4837135"/>
            <a:ext cx="306910" cy="306910"/>
            <a:chOff x="982662" y="1847850"/>
            <a:chExt cx="269875" cy="269875"/>
          </a:xfrm>
        </p:grpSpPr>
        <p:sp>
          <p:nvSpPr>
            <p:cNvPr id="35" name="Oval 50">
              <a:extLst>
                <a:ext uri="{FF2B5EF4-FFF2-40B4-BE49-F238E27FC236}">
                  <a16:creationId xmlns:a16="http://schemas.microsoft.com/office/drawing/2014/main" id="{1864CA50-5D10-4FFB-A332-8E6CEA74ECB1}"/>
                </a:ext>
              </a:extLst>
            </p:cNvPr>
            <p:cNvSpPr>
              <a:spLocks noChangeArrowheads="1"/>
            </p:cNvSpPr>
            <p:nvPr/>
          </p:nvSpPr>
          <p:spPr bwMode="auto">
            <a:xfrm>
              <a:off x="982662" y="1847850"/>
              <a:ext cx="269875" cy="269875"/>
            </a:xfrm>
            <a:prstGeom prst="ellipse">
              <a:avLst/>
            </a:prstGeom>
            <a:solidFill>
              <a:srgbClr val="07B59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6" name="Freeform 51">
              <a:extLst>
                <a:ext uri="{FF2B5EF4-FFF2-40B4-BE49-F238E27FC236}">
                  <a16:creationId xmlns:a16="http://schemas.microsoft.com/office/drawing/2014/main" id="{4884D434-E7B0-4F1B-B2D5-FFC2A85FB2C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37" name="TextBox 36">
            <a:extLst>
              <a:ext uri="{FF2B5EF4-FFF2-40B4-BE49-F238E27FC236}">
                <a16:creationId xmlns:a16="http://schemas.microsoft.com/office/drawing/2014/main" id="{B8973E74-9304-41AA-801C-4EF05933AE77}"/>
              </a:ext>
            </a:extLst>
          </p:cNvPr>
          <p:cNvSpPr txBox="1"/>
          <p:nvPr/>
        </p:nvSpPr>
        <p:spPr>
          <a:xfrm>
            <a:off x="3952021" y="5208586"/>
            <a:ext cx="3346899"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B597"/>
                </a:solidFill>
                <a:effectLst/>
                <a:uLnTx/>
                <a:uFillTx/>
                <a:latin typeface="Open Sans"/>
                <a:ea typeface="+mn-ea"/>
                <a:cs typeface="+mn-cs"/>
              </a:rPr>
              <a:t>Holistic assessment of requests to prioritize allocation of funds across schools</a:t>
            </a:r>
          </a:p>
        </p:txBody>
      </p:sp>
      <p:sp>
        <p:nvSpPr>
          <p:cNvPr id="38" name="TextBox 37">
            <a:extLst>
              <a:ext uri="{FF2B5EF4-FFF2-40B4-BE49-F238E27FC236}">
                <a16:creationId xmlns:a16="http://schemas.microsoft.com/office/drawing/2014/main" id="{FB7750C4-8ACF-4ED4-9DCF-C9DCC91810C6}"/>
              </a:ext>
            </a:extLst>
          </p:cNvPr>
          <p:cNvSpPr txBox="1"/>
          <p:nvPr/>
        </p:nvSpPr>
        <p:spPr>
          <a:xfrm>
            <a:off x="8013564" y="5208586"/>
            <a:ext cx="3036163"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B597"/>
                </a:solidFill>
                <a:effectLst/>
                <a:uLnTx/>
                <a:uFillTx/>
                <a:latin typeface="Open Sans"/>
                <a:ea typeface="+mn-ea"/>
                <a:cs typeface="+mn-cs"/>
              </a:rPr>
              <a:t>Evaluation of individual LEA plans to spend their pre-allocated funds</a:t>
            </a:r>
          </a:p>
        </p:txBody>
      </p:sp>
    </p:spTree>
    <p:extLst>
      <p:ext uri="{BB962C8B-B14F-4D97-AF65-F5344CB8AC3E}">
        <p14:creationId xmlns:p14="http://schemas.microsoft.com/office/powerpoint/2010/main" val="2122549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dissolve">
                                      <p:cBhvr>
                                        <p:cTn id="7" dur="500"/>
                                        <p:tgtEl>
                                          <p:spTgt spid="18"/>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dissolve">
                                      <p:cBhvr>
                                        <p:cTn id="10" dur="500"/>
                                        <p:tgtEl>
                                          <p:spTgt spid="37"/>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dissolve">
                                      <p:cBhvr>
                                        <p:cTn id="15" dur="500"/>
                                        <p:tgtEl>
                                          <p:spTgt spid="21"/>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38"/>
                                        </p:tgtEl>
                                        <p:attrNameLst>
                                          <p:attrName>style.visibility</p:attrName>
                                        </p:attrNameLst>
                                      </p:cBhvr>
                                      <p:to>
                                        <p:strVal val="visible"/>
                                      </p:to>
                                    </p:set>
                                    <p:animEffect transition="in" filter="dissolve">
                                      <p:cBhvr>
                                        <p:cTn id="18"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83" name="think-cell Slide" r:id="rId13" imgW="286" imgH="286" progId="TCLayout.ActiveDocument.1">
                  <p:embed/>
                </p:oleObj>
              </mc:Choice>
              <mc:Fallback>
                <p:oleObj name="think-cell Slide" r:id="rId13" imgW="286" imgH="286" progId="TCLayout.ActiveDocument.1">
                  <p:embed/>
                  <p:pic>
                    <p:nvPicPr>
                      <p:cNvPr id="2" name="Object 1"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C45B7A-3E36-4E36-BA16-6B8178CFF834}"/>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Open Sans Semibold" panose="020B0706030804020204" pitchFamily="34" charset="0"/>
              <a:ea typeface="+mj-ea"/>
              <a:cs typeface="+mj-cs"/>
              <a:sym typeface="Open Sans Semibold" panose="020B0706030804020204" pitchFamily="34" charset="0"/>
            </a:endParaRPr>
          </a:p>
        </p:txBody>
      </p:sp>
      <p:sp>
        <p:nvSpPr>
          <p:cNvPr id="55" name="Title 54">
            <a:extLst>
              <a:ext uri="{FF2B5EF4-FFF2-40B4-BE49-F238E27FC236}">
                <a16:creationId xmlns:a16="http://schemas.microsoft.com/office/drawing/2014/main" id="{D548D438-57F9-42D9-A1C1-03CC8FB8E0BE}"/>
              </a:ext>
            </a:extLst>
          </p:cNvPr>
          <p:cNvSpPr>
            <a:spLocks noGrp="1"/>
          </p:cNvSpPr>
          <p:nvPr>
            <p:ph type="title"/>
          </p:nvPr>
        </p:nvSpPr>
        <p:spPr>
          <a:xfrm>
            <a:off x="630000" y="622800"/>
            <a:ext cx="10933350" cy="886397"/>
          </a:xfrm>
        </p:spPr>
        <p:txBody>
          <a:bodyPr vert="horz"/>
          <a:lstStyle/>
          <a:p>
            <a:r>
              <a:rPr lang="en-US" sz="3200" dirty="0">
                <a:solidFill>
                  <a:srgbClr val="FFA400"/>
                </a:solidFill>
              </a:rPr>
              <a:t>Prior funding: </a:t>
            </a:r>
            <a:r>
              <a:rPr lang="en-US" sz="3200" dirty="0"/>
              <a:t>ESSER I spend providing much-needed relief; many districts have used all ESSER I allocations</a:t>
            </a:r>
          </a:p>
        </p:txBody>
      </p:sp>
      <p:graphicFrame>
        <p:nvGraphicFramePr>
          <p:cNvPr id="37" name="Chart 36">
            <a:extLst>
              <a:ext uri="{FF2B5EF4-FFF2-40B4-BE49-F238E27FC236}">
                <a16:creationId xmlns:a16="http://schemas.microsoft.com/office/drawing/2014/main" id="{98BAB44C-5EA0-4217-8C5B-65CBEBC7728E}"/>
              </a:ext>
            </a:extLst>
          </p:cNvPr>
          <p:cNvGraphicFramePr/>
          <p:nvPr>
            <p:custDataLst>
              <p:tags r:id="rId4"/>
            </p:custDataLst>
          </p:nvPr>
        </p:nvGraphicFramePr>
        <p:xfrm>
          <a:off x="1360488" y="2457450"/>
          <a:ext cx="2266950" cy="2359025"/>
        </p:xfrm>
        <a:graphic>
          <a:graphicData uri="http://schemas.openxmlformats.org/drawingml/2006/chart">
            <c:chart xmlns:c="http://schemas.openxmlformats.org/drawingml/2006/chart" xmlns:r="http://schemas.openxmlformats.org/officeDocument/2006/relationships" r:id="rId15"/>
          </a:graphicData>
        </a:graphic>
      </p:graphicFrame>
      <p:sp>
        <p:nvSpPr>
          <p:cNvPr id="229" name="Text Placeholder 3">
            <a:extLst>
              <a:ext uri="{FF2B5EF4-FFF2-40B4-BE49-F238E27FC236}">
                <a16:creationId xmlns:a16="http://schemas.microsoft.com/office/drawing/2014/main" id="{3E607B70-B19F-4F8E-A969-FC185C86E7BB}"/>
              </a:ext>
            </a:extLst>
          </p:cNvPr>
          <p:cNvSpPr>
            <a:spLocks noGrp="1"/>
          </p:cNvSpPr>
          <p:nvPr>
            <p:custDataLst>
              <p:tags r:id="rId5"/>
            </p:custDataLst>
          </p:nvPr>
        </p:nvSpPr>
        <p:spPr bwMode="gray">
          <a:xfrm>
            <a:off x="2117725" y="2816225"/>
            <a:ext cx="75247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fld id="{CFA4DE6D-D0BB-4CF6-8265-8675B71CEBB8}" type="datetime'''''''''''''''''$31''.''''4''M'''''''''''''">
              <a:rPr lang="en-US" altLang="en-US" sz="1600" smtClean="0"/>
              <a:pPr/>
              <a:t>$31.4M</a:t>
            </a:fld>
            <a:endParaRPr lang="en-US" sz="1600" dirty="0"/>
          </a:p>
        </p:txBody>
      </p:sp>
      <p:sp>
        <p:nvSpPr>
          <p:cNvPr id="60" name="Text Placeholder 3">
            <a:extLst>
              <a:ext uri="{FF2B5EF4-FFF2-40B4-BE49-F238E27FC236}">
                <a16:creationId xmlns:a16="http://schemas.microsoft.com/office/drawing/2014/main" id="{0B07363C-37EA-4926-83E5-261B7015FCA5}"/>
              </a:ext>
            </a:extLst>
          </p:cNvPr>
          <p:cNvSpPr>
            <a:spLocks noGrp="1"/>
          </p:cNvSpPr>
          <p:nvPr>
            <p:custDataLst>
              <p:tags r:id="rId6"/>
            </p:custDataLst>
          </p:nvPr>
        </p:nvSpPr>
        <p:spPr bwMode="gray">
          <a:xfrm>
            <a:off x="669925" y="2681288"/>
            <a:ext cx="1004888" cy="536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r">
              <a:spcBef>
                <a:spcPct val="0"/>
              </a:spcBef>
              <a:spcAft>
                <a:spcPct val="0"/>
              </a:spcAft>
            </a:pPr>
            <a:r>
              <a:rPr lang="en-US" altLang="en-US" sz="1600" dirty="0"/>
              <a:t>Remaining</a:t>
            </a:r>
          </a:p>
          <a:p>
            <a:pPr algn="r">
              <a:spcBef>
                <a:spcPct val="0"/>
              </a:spcBef>
              <a:spcAft>
                <a:spcPct val="0"/>
              </a:spcAft>
            </a:pPr>
            <a:r>
              <a:rPr lang="en-US" sz="1600" dirty="0"/>
              <a:t>allocation</a:t>
            </a:r>
          </a:p>
        </p:txBody>
      </p:sp>
      <p:sp>
        <p:nvSpPr>
          <p:cNvPr id="230" name="Text Placeholder 3">
            <a:extLst>
              <a:ext uri="{FF2B5EF4-FFF2-40B4-BE49-F238E27FC236}">
                <a16:creationId xmlns:a16="http://schemas.microsoft.com/office/drawing/2014/main" id="{BB0CD25F-4139-47AD-97A4-75610387DE14}"/>
              </a:ext>
            </a:extLst>
          </p:cNvPr>
          <p:cNvSpPr>
            <a:spLocks noGrp="1"/>
          </p:cNvSpPr>
          <p:nvPr>
            <p:custDataLst>
              <p:tags r:id="rId7"/>
            </p:custDataLst>
          </p:nvPr>
        </p:nvSpPr>
        <p:spPr bwMode="gray">
          <a:xfrm>
            <a:off x="2117725" y="3913188"/>
            <a:ext cx="752475"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fld id="{02801C6C-218E-481B-82D5-F332BE7AA1A2}" type="datetime'''''''''''''''''$''''''''''''5''''''2''''.7M'''''''''''''''">
              <a:rPr lang="en-US" altLang="en-US" sz="1600" smtClean="0">
                <a:solidFill>
                  <a:schemeClr val="bg1"/>
                </a:solidFill>
              </a:rPr>
              <a:pPr/>
              <a:t>$52.7M</a:t>
            </a:fld>
            <a:endParaRPr lang="en-US" sz="1600" dirty="0">
              <a:solidFill>
                <a:schemeClr val="bg1"/>
              </a:solidFill>
            </a:endParaRPr>
          </a:p>
        </p:txBody>
      </p:sp>
      <p:sp>
        <p:nvSpPr>
          <p:cNvPr id="252" name="Text Placeholder 3">
            <a:extLst>
              <a:ext uri="{FF2B5EF4-FFF2-40B4-BE49-F238E27FC236}">
                <a16:creationId xmlns:a16="http://schemas.microsoft.com/office/drawing/2014/main" id="{5F6959EE-0D54-4B9D-8231-3D670C953E58}"/>
              </a:ext>
            </a:extLst>
          </p:cNvPr>
          <p:cNvSpPr>
            <a:spLocks noGrp="1"/>
          </p:cNvSpPr>
          <p:nvPr>
            <p:custDataLst>
              <p:tags r:id="rId8"/>
            </p:custDataLst>
          </p:nvPr>
        </p:nvSpPr>
        <p:spPr bwMode="gray">
          <a:xfrm>
            <a:off x="496888" y="3778250"/>
            <a:ext cx="1177925" cy="536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r">
              <a:spcBef>
                <a:spcPct val="0"/>
              </a:spcBef>
              <a:spcAft>
                <a:spcPct val="0"/>
              </a:spcAft>
            </a:pPr>
            <a:r>
              <a:rPr lang="en-US" altLang="en-US" sz="1600" dirty="0"/>
              <a:t>Dollars</a:t>
            </a:r>
          </a:p>
          <a:p>
            <a:pPr algn="r">
              <a:spcBef>
                <a:spcPct val="0"/>
              </a:spcBef>
              <a:spcAft>
                <a:spcPct val="0"/>
              </a:spcAft>
            </a:pPr>
            <a:r>
              <a:rPr lang="en-US" sz="1600" dirty="0"/>
              <a:t>drawn down</a:t>
            </a:r>
          </a:p>
        </p:txBody>
      </p:sp>
      <p:sp>
        <p:nvSpPr>
          <p:cNvPr id="56" name="Text Placeholder 3">
            <a:extLst>
              <a:ext uri="{FF2B5EF4-FFF2-40B4-BE49-F238E27FC236}">
                <a16:creationId xmlns:a16="http://schemas.microsoft.com/office/drawing/2014/main" id="{9F64B55F-566A-4DBE-ACE0-E5CA1A469CFC}"/>
              </a:ext>
            </a:extLst>
          </p:cNvPr>
          <p:cNvSpPr>
            <a:spLocks noGrp="1"/>
          </p:cNvSpPr>
          <p:nvPr>
            <p:custDataLst>
              <p:tags r:id="rId9"/>
            </p:custDataLst>
          </p:nvPr>
        </p:nvSpPr>
        <p:spPr bwMode="gray">
          <a:xfrm>
            <a:off x="1704975" y="4802188"/>
            <a:ext cx="1579563" cy="8048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fld id="{1287BA54-787F-42AF-BD2F-DB487DC391A0}" type="datetime'S''tat''u''s of ESSER ''I dollars (through'' March ''''2021)'">
              <a:rPr lang="en-US" altLang="en-US" sz="1600" smtClean="0"/>
              <a:pPr/>
              <a:t>Status of ESSER I dollars (through March 2021)</a:t>
            </a:fld>
            <a:r>
              <a:rPr lang="en-US" altLang="en-US" sz="1600" baseline="30000" dirty="0"/>
              <a:t>1</a:t>
            </a:r>
            <a:r>
              <a:rPr lang="en-US" altLang="en-US" sz="1600" dirty="0"/>
              <a:t> </a:t>
            </a:r>
            <a:endParaRPr lang="en-US" sz="1600" dirty="0"/>
          </a:p>
        </p:txBody>
      </p:sp>
      <p:sp>
        <p:nvSpPr>
          <p:cNvPr id="64" name="Text Placeholder 3">
            <a:extLst>
              <a:ext uri="{FF2B5EF4-FFF2-40B4-BE49-F238E27FC236}">
                <a16:creationId xmlns:a16="http://schemas.microsoft.com/office/drawing/2014/main" id="{D6215DEC-E69F-4A09-A570-85C05FD4A2AA}"/>
              </a:ext>
            </a:extLst>
          </p:cNvPr>
          <p:cNvSpPr>
            <a:spLocks noGrp="1"/>
          </p:cNvSpPr>
          <p:nvPr>
            <p:custDataLst>
              <p:tags r:id="rId10"/>
            </p:custDataLst>
          </p:nvPr>
        </p:nvSpPr>
        <p:spPr bwMode="gray">
          <a:xfrm>
            <a:off x="2052637" y="2246313"/>
            <a:ext cx="88265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a:spcBef>
                <a:spcPct val="0"/>
              </a:spcBef>
              <a:spcAft>
                <a:spcPct val="0"/>
              </a:spcAft>
            </a:pPr>
            <a:fld id="{B3032554-9E04-44DC-8137-55EA1F3357BB}" type="datetime'$8''''''4''''''''''''.''''''''''''''''''''1''''M'''''''''''''">
              <a:rPr lang="en-US" altLang="en-US" sz="1600" smtClean="0"/>
              <a:pPr/>
              <a:t>$84.1M</a:t>
            </a:fld>
            <a:r>
              <a:rPr lang="en-US" altLang="en-US" sz="1600" baseline="30000" dirty="0"/>
              <a:t>1</a:t>
            </a:r>
            <a:r>
              <a:rPr lang="en-US" altLang="en-US" sz="1600" dirty="0"/>
              <a:t> </a:t>
            </a:r>
            <a:endParaRPr lang="en-US" sz="1600" dirty="0"/>
          </a:p>
        </p:txBody>
      </p:sp>
      <p:cxnSp>
        <p:nvCxnSpPr>
          <p:cNvPr id="87" name="Straight Connector 86">
            <a:extLst>
              <a:ext uri="{FF2B5EF4-FFF2-40B4-BE49-F238E27FC236}">
                <a16:creationId xmlns:a16="http://schemas.microsoft.com/office/drawing/2014/main" id="{A8EC248C-626C-47D9-8815-A60E4B2C321C}"/>
              </a:ext>
            </a:extLst>
          </p:cNvPr>
          <p:cNvCxnSpPr/>
          <p:nvPr/>
        </p:nvCxnSpPr>
        <p:spPr>
          <a:xfrm>
            <a:off x="4673600" y="1635760"/>
            <a:ext cx="0" cy="386334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18" name="ee4pHeader1">
            <a:extLst>
              <a:ext uri="{FF2B5EF4-FFF2-40B4-BE49-F238E27FC236}">
                <a16:creationId xmlns:a16="http://schemas.microsoft.com/office/drawing/2014/main" id="{D5BC613C-C1C2-4A4B-B30A-AA784A864757}"/>
              </a:ext>
            </a:extLst>
          </p:cNvPr>
          <p:cNvSpPr txBox="1"/>
          <p:nvPr/>
        </p:nvSpPr>
        <p:spPr>
          <a:xfrm>
            <a:off x="630000" y="1679313"/>
            <a:ext cx="2712641" cy="276999"/>
          </a:xfrm>
          <a:prstGeom prst="rect">
            <a:avLst/>
          </a:prstGeom>
          <a:noFill/>
          <a:ln cap="rnd">
            <a:noFill/>
          </a:ln>
        </p:spPr>
        <p:txBody>
          <a:bodyPr vert="horz" wrap="square" lIns="0" tIns="0" rIns="0" bIns="0" rtlCol="0" anchor="b" anchorCtr="0">
            <a:spAutoFit/>
          </a:bodyPr>
          <a:lstStyle/>
          <a:p>
            <a:pPr marL="0" lvl="3" algn="ctr"/>
            <a:r>
              <a:rPr lang="en-US" b="1" dirty="0">
                <a:solidFill>
                  <a:schemeClr val="tx2"/>
                </a:solidFill>
              </a:rPr>
              <a:t>Amount spent to date</a:t>
            </a:r>
          </a:p>
        </p:txBody>
      </p:sp>
      <p:sp>
        <p:nvSpPr>
          <p:cNvPr id="240" name="ee4pFootnotes">
            <a:extLst>
              <a:ext uri="{FF2B5EF4-FFF2-40B4-BE49-F238E27FC236}">
                <a16:creationId xmlns:a16="http://schemas.microsoft.com/office/drawing/2014/main" id="{CAE7F241-C0F8-42F2-BC56-0F8C0C0AAAEB}"/>
              </a:ext>
            </a:extLst>
          </p:cNvPr>
          <p:cNvSpPr>
            <a:spLocks noChangeArrowheads="1"/>
          </p:cNvSpPr>
          <p:nvPr/>
        </p:nvSpPr>
        <p:spPr bwMode="auto">
          <a:xfrm>
            <a:off x="629999" y="6048375"/>
            <a:ext cx="10784749"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a:solidFill>
                  <a:schemeClr val="bg1">
                    <a:lumMod val="50000"/>
                  </a:schemeClr>
                </a:solidFill>
                <a:latin typeface="Open Sans" panose="020B0606030504020204" pitchFamily="34" charset="0"/>
              </a:rPr>
              <a:t>Includes ESSER I direct district allocations and ESSER I SPED allocations from KSDE; does not include KSDE dollars set aside for grant administration</a:t>
            </a:r>
          </a:p>
        </p:txBody>
      </p:sp>
      <p:sp>
        <p:nvSpPr>
          <p:cNvPr id="263" name="Speech Bubble: Rectangle 262">
            <a:extLst>
              <a:ext uri="{FF2B5EF4-FFF2-40B4-BE49-F238E27FC236}">
                <a16:creationId xmlns:a16="http://schemas.microsoft.com/office/drawing/2014/main" id="{C95A061C-E7DE-4F1B-968E-C221E508272E}"/>
              </a:ext>
            </a:extLst>
          </p:cNvPr>
          <p:cNvSpPr/>
          <p:nvPr/>
        </p:nvSpPr>
        <p:spPr>
          <a:xfrm>
            <a:off x="3046273" y="3006725"/>
            <a:ext cx="1471258" cy="1580672"/>
          </a:xfrm>
          <a:prstGeom prst="wedgeRectCallout">
            <a:avLst>
              <a:gd name="adj1" fmla="val -63690"/>
              <a:gd name="adj2" fmla="val 17238"/>
            </a:avLst>
          </a:prstGeom>
          <a:solidFill>
            <a:srgbClr val="FFD18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4565A"/>
                </a:solidFill>
              </a:rPr>
              <a:t>Schools were encouraged to spend CRF dollars first due to CRF spend deadlines</a:t>
            </a:r>
          </a:p>
        </p:txBody>
      </p:sp>
      <p:sp>
        <p:nvSpPr>
          <p:cNvPr id="34" name="TextBox 33">
            <a:extLst>
              <a:ext uri="{FF2B5EF4-FFF2-40B4-BE49-F238E27FC236}">
                <a16:creationId xmlns:a16="http://schemas.microsoft.com/office/drawing/2014/main" id="{B53F9545-A67D-48F3-88F0-9E8C5A9CFCCC}"/>
              </a:ext>
            </a:extLst>
          </p:cNvPr>
          <p:cNvSpPr txBox="1"/>
          <p:nvPr/>
        </p:nvSpPr>
        <p:spPr>
          <a:xfrm>
            <a:off x="6559590" y="2502570"/>
            <a:ext cx="4595244" cy="532678"/>
          </a:xfrm>
          <a:prstGeom prst="rect">
            <a:avLst/>
          </a:prstGeom>
          <a:noFill/>
        </p:spPr>
        <p:txBody>
          <a:bodyPr wrap="square" lIns="0" tIns="0" rIns="0" bIns="0" rtlCol="0" anchor="t" anchorCtr="0">
            <a:noAutofit/>
          </a:bodyPr>
          <a:lstStyle/>
          <a:p>
            <a:r>
              <a:rPr lang="en-US" dirty="0">
                <a:solidFill>
                  <a:schemeClr val="tx2"/>
                </a:solidFill>
              </a:rPr>
              <a:t>Districts have drawn down </a:t>
            </a:r>
            <a:r>
              <a:rPr lang="en-US" b="1" dirty="0">
                <a:solidFill>
                  <a:schemeClr val="tx2"/>
                </a:solidFill>
              </a:rPr>
              <a:t>their entire ESSER I direct district allocation</a:t>
            </a:r>
          </a:p>
        </p:txBody>
      </p:sp>
      <p:sp>
        <p:nvSpPr>
          <p:cNvPr id="35" name="Oval 34">
            <a:extLst>
              <a:ext uri="{FF2B5EF4-FFF2-40B4-BE49-F238E27FC236}">
                <a16:creationId xmlns:a16="http://schemas.microsoft.com/office/drawing/2014/main" id="{B267D7DC-89A9-458E-B41C-F982277E48AA}"/>
              </a:ext>
            </a:extLst>
          </p:cNvPr>
          <p:cNvSpPr/>
          <p:nvPr/>
        </p:nvSpPr>
        <p:spPr>
          <a:xfrm>
            <a:off x="5321258" y="2265989"/>
            <a:ext cx="1005840" cy="1005840"/>
          </a:xfrm>
          <a:prstGeom prst="ellipse">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200" b="1" dirty="0">
                <a:solidFill>
                  <a:srgbClr val="FFFFFF"/>
                </a:solidFill>
              </a:rPr>
              <a:t>99</a:t>
            </a:r>
          </a:p>
        </p:txBody>
      </p:sp>
      <p:sp>
        <p:nvSpPr>
          <p:cNvPr id="36" name="Oval 35">
            <a:extLst>
              <a:ext uri="{FF2B5EF4-FFF2-40B4-BE49-F238E27FC236}">
                <a16:creationId xmlns:a16="http://schemas.microsoft.com/office/drawing/2014/main" id="{D85B3F3C-363E-4138-A138-63D25A8A93F4}"/>
              </a:ext>
            </a:extLst>
          </p:cNvPr>
          <p:cNvSpPr/>
          <p:nvPr/>
        </p:nvSpPr>
        <p:spPr>
          <a:xfrm>
            <a:off x="5321257" y="3398278"/>
            <a:ext cx="1005840" cy="1005840"/>
          </a:xfrm>
          <a:prstGeom prst="ellipse">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200" b="1" dirty="0">
                <a:solidFill>
                  <a:srgbClr val="FFFFFF"/>
                </a:solidFill>
              </a:rPr>
              <a:t>192</a:t>
            </a:r>
          </a:p>
        </p:txBody>
      </p:sp>
      <p:sp>
        <p:nvSpPr>
          <p:cNvPr id="38" name="Oval 37">
            <a:extLst>
              <a:ext uri="{FF2B5EF4-FFF2-40B4-BE49-F238E27FC236}">
                <a16:creationId xmlns:a16="http://schemas.microsoft.com/office/drawing/2014/main" id="{F31591DE-09C1-44DF-BD36-D43B373CA241}"/>
              </a:ext>
            </a:extLst>
          </p:cNvPr>
          <p:cNvSpPr/>
          <p:nvPr/>
        </p:nvSpPr>
        <p:spPr>
          <a:xfrm>
            <a:off x="5321256" y="4510247"/>
            <a:ext cx="1005840" cy="1005840"/>
          </a:xfrm>
          <a:prstGeom prst="ellipse">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200" b="1" dirty="0">
                <a:solidFill>
                  <a:srgbClr val="FFFFFF"/>
                </a:solidFill>
              </a:rPr>
              <a:t>80</a:t>
            </a:r>
          </a:p>
        </p:txBody>
      </p:sp>
      <p:sp>
        <p:nvSpPr>
          <p:cNvPr id="40" name="TextBox 39">
            <a:extLst>
              <a:ext uri="{FF2B5EF4-FFF2-40B4-BE49-F238E27FC236}">
                <a16:creationId xmlns:a16="http://schemas.microsoft.com/office/drawing/2014/main" id="{4CD0C576-BF28-4C87-9CD8-721197A25FF2}"/>
              </a:ext>
            </a:extLst>
          </p:cNvPr>
          <p:cNvSpPr txBox="1"/>
          <p:nvPr/>
        </p:nvSpPr>
        <p:spPr>
          <a:xfrm>
            <a:off x="6559590" y="3634859"/>
            <a:ext cx="4595244" cy="532678"/>
          </a:xfrm>
          <a:prstGeom prst="rect">
            <a:avLst/>
          </a:prstGeom>
          <a:noFill/>
        </p:spPr>
        <p:txBody>
          <a:bodyPr wrap="square" lIns="0" tIns="0" rIns="0" bIns="0" rtlCol="0" anchor="t" anchorCtr="0">
            <a:noAutofit/>
          </a:bodyPr>
          <a:lstStyle/>
          <a:p>
            <a:r>
              <a:rPr lang="en-US" dirty="0">
                <a:solidFill>
                  <a:schemeClr val="tx2"/>
                </a:solidFill>
              </a:rPr>
              <a:t>Districts have drawn down </a:t>
            </a:r>
            <a:r>
              <a:rPr lang="en-US" b="1" dirty="0">
                <a:solidFill>
                  <a:schemeClr val="tx2"/>
                </a:solidFill>
              </a:rPr>
              <a:t>their entire ESSER I SPED allocation</a:t>
            </a:r>
          </a:p>
        </p:txBody>
      </p:sp>
      <p:sp>
        <p:nvSpPr>
          <p:cNvPr id="43" name="TextBox 42">
            <a:extLst>
              <a:ext uri="{FF2B5EF4-FFF2-40B4-BE49-F238E27FC236}">
                <a16:creationId xmlns:a16="http://schemas.microsoft.com/office/drawing/2014/main" id="{FA24A221-A0A0-4FB1-9F98-95456BEE25A3}"/>
              </a:ext>
            </a:extLst>
          </p:cNvPr>
          <p:cNvSpPr txBox="1"/>
          <p:nvPr/>
        </p:nvSpPr>
        <p:spPr>
          <a:xfrm>
            <a:off x="6559590" y="4746828"/>
            <a:ext cx="5114250" cy="532678"/>
          </a:xfrm>
          <a:prstGeom prst="rect">
            <a:avLst/>
          </a:prstGeom>
          <a:noFill/>
        </p:spPr>
        <p:txBody>
          <a:bodyPr wrap="square" lIns="0" tIns="0" rIns="0" bIns="0" rtlCol="0" anchor="t" anchorCtr="0">
            <a:noAutofit/>
          </a:bodyPr>
          <a:lstStyle/>
          <a:p>
            <a:r>
              <a:rPr lang="en-US" dirty="0">
                <a:solidFill>
                  <a:schemeClr val="tx2"/>
                </a:solidFill>
              </a:rPr>
              <a:t>Districts have drawn down </a:t>
            </a:r>
            <a:r>
              <a:rPr lang="en-US" b="1" dirty="0">
                <a:solidFill>
                  <a:schemeClr val="tx2"/>
                </a:solidFill>
              </a:rPr>
              <a:t>their entire ESSER I direct district </a:t>
            </a:r>
            <a:r>
              <a:rPr lang="en-US" b="1" u="sng" dirty="0">
                <a:solidFill>
                  <a:schemeClr val="tx2"/>
                </a:solidFill>
              </a:rPr>
              <a:t>and</a:t>
            </a:r>
            <a:r>
              <a:rPr lang="en-US" b="1" dirty="0">
                <a:solidFill>
                  <a:schemeClr val="tx2"/>
                </a:solidFill>
              </a:rPr>
              <a:t> SPED allocations</a:t>
            </a:r>
          </a:p>
        </p:txBody>
      </p:sp>
      <p:sp>
        <p:nvSpPr>
          <p:cNvPr id="44" name="ee4pHeader1">
            <a:extLst>
              <a:ext uri="{FF2B5EF4-FFF2-40B4-BE49-F238E27FC236}">
                <a16:creationId xmlns:a16="http://schemas.microsoft.com/office/drawing/2014/main" id="{A18CA3D0-2B79-4423-8894-3F7133D171F0}"/>
              </a:ext>
            </a:extLst>
          </p:cNvPr>
          <p:cNvSpPr txBox="1"/>
          <p:nvPr/>
        </p:nvSpPr>
        <p:spPr>
          <a:xfrm>
            <a:off x="5067637" y="1780913"/>
            <a:ext cx="2983905" cy="276999"/>
          </a:xfrm>
          <a:prstGeom prst="rect">
            <a:avLst/>
          </a:prstGeom>
          <a:noFill/>
          <a:ln cap="rnd">
            <a:noFill/>
          </a:ln>
        </p:spPr>
        <p:txBody>
          <a:bodyPr vert="horz" wrap="square" lIns="0" tIns="0" rIns="0" bIns="0" rtlCol="0" anchor="b" anchorCtr="0">
            <a:spAutoFit/>
          </a:bodyPr>
          <a:lstStyle/>
          <a:p>
            <a:pPr marL="0" lvl="3" algn="ctr"/>
            <a:r>
              <a:rPr lang="en-US" b="1" dirty="0">
                <a:solidFill>
                  <a:schemeClr val="tx2"/>
                </a:solidFill>
              </a:rPr>
              <a:t>Of the 286 total districts:</a:t>
            </a:r>
          </a:p>
        </p:txBody>
      </p:sp>
    </p:spTree>
    <p:extLst>
      <p:ext uri="{BB962C8B-B14F-4D97-AF65-F5344CB8AC3E}">
        <p14:creationId xmlns:p14="http://schemas.microsoft.com/office/powerpoint/2010/main" val="4225896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2131"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BcgText 1"/>
          <p:cNvSpPr txBox="1"/>
          <p:nvPr userDrawn="1">
            <p:custDataLst>
              <p:tags r:id="rId4"/>
            </p:custDataLst>
          </p:nvPr>
        </p:nvSpPr>
        <p:spPr>
          <a:xfrm>
            <a:off x="639248" y="3040042"/>
            <a:ext cx="8633706" cy="548640"/>
          </a:xfrm>
          <a:prstGeom prst="rect">
            <a:avLst/>
          </a:prstGeom>
          <a:noFill/>
          <a:ln cap="rnd">
            <a:noFill/>
          </a:ln>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Open Sans"/>
                <a:ea typeface="+mn-ea"/>
                <a:cs typeface="+mn-cs"/>
              </a:rPr>
              <a:t>Status Update on EANS Process</a:t>
            </a:r>
          </a:p>
        </p:txBody>
      </p:sp>
    </p:spTree>
    <p:custDataLst>
      <p:tags r:id="rId2"/>
    </p:custDataLst>
    <p:extLst>
      <p:ext uri="{BB962C8B-B14F-4D97-AF65-F5344CB8AC3E}">
        <p14:creationId xmlns:p14="http://schemas.microsoft.com/office/powerpoint/2010/main" val="1633573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4179"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59CF42-E090-4528-81B5-26082596BF68}"/>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51" name="Rectangle 50" hidden="1">
            <a:extLst>
              <a:ext uri="{FF2B5EF4-FFF2-40B4-BE49-F238E27FC236}">
                <a16:creationId xmlns:a16="http://schemas.microsoft.com/office/drawing/2014/main" id="{E617311F-2BA8-4B20-BAB6-ABD313A083D2}"/>
              </a:ext>
            </a:extLst>
          </p:cNvPr>
          <p:cNvSpPr/>
          <p:nvPr>
            <p:custDataLst>
              <p:tags r:id="rId4"/>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3" name="Title 2">
            <a:extLst>
              <a:ext uri="{FF2B5EF4-FFF2-40B4-BE49-F238E27FC236}">
                <a16:creationId xmlns:a16="http://schemas.microsoft.com/office/drawing/2014/main" id="{DB3CC16D-2ABC-489A-9822-1DFA3AEC0BF3}"/>
              </a:ext>
            </a:extLst>
          </p:cNvPr>
          <p:cNvSpPr>
            <a:spLocks noGrp="1"/>
          </p:cNvSpPr>
          <p:nvPr>
            <p:ph type="title"/>
          </p:nvPr>
        </p:nvSpPr>
        <p:spPr>
          <a:xfrm>
            <a:off x="630000" y="454972"/>
            <a:ext cx="10933350" cy="387798"/>
          </a:xfrm>
        </p:spPr>
        <p:txBody>
          <a:bodyPr vert="horz"/>
          <a:lstStyle/>
          <a:p>
            <a:r>
              <a:rPr lang="en-US" sz="2800" dirty="0">
                <a:solidFill>
                  <a:srgbClr val="FFA400"/>
                </a:solidFill>
              </a:rPr>
              <a:t>EANS application | </a:t>
            </a:r>
            <a:r>
              <a:rPr lang="en-US" sz="2800" dirty="0"/>
              <a:t>Three key goals for information gathered</a:t>
            </a:r>
          </a:p>
        </p:txBody>
      </p:sp>
      <p:sp>
        <p:nvSpPr>
          <p:cNvPr id="54" name="Oval 53">
            <a:extLst>
              <a:ext uri="{FF2B5EF4-FFF2-40B4-BE49-F238E27FC236}">
                <a16:creationId xmlns:a16="http://schemas.microsoft.com/office/drawing/2014/main" id="{8A58A28E-D790-4D18-A0C4-FE414A765672}"/>
              </a:ext>
            </a:extLst>
          </p:cNvPr>
          <p:cNvSpPr/>
          <p:nvPr/>
        </p:nvSpPr>
        <p:spPr>
          <a:xfrm>
            <a:off x="5121038" y="2166879"/>
            <a:ext cx="1950042" cy="1950042"/>
          </a:xfrm>
          <a:prstGeom prst="ellipse">
            <a:avLst/>
          </a:prstGeom>
          <a:solidFill>
            <a:srgbClr val="FFA400"/>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rgbClr val="0E213E"/>
                    </a:gs>
                    <a:gs pos="100000">
                      <a:srgbClr val="12284C"/>
                    </a:gs>
                  </a:gsLst>
                  <a:lin ang="2700000" scaled="1"/>
                  <a:tileRect/>
                </a:gradFill>
                <a:prstDash val="solid"/>
              </a14:hiddenLine>
            </a:ext>
          </a:ex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2284C"/>
              </a:solidFill>
              <a:effectLst/>
              <a:uLnTx/>
              <a:uFillTx/>
              <a:latin typeface="Open Sans"/>
              <a:ea typeface="+mn-ea"/>
              <a:cs typeface="+mn-cs"/>
            </a:endParaRPr>
          </a:p>
        </p:txBody>
      </p:sp>
      <p:sp>
        <p:nvSpPr>
          <p:cNvPr id="55" name="TextBox 54">
            <a:extLst>
              <a:ext uri="{FF2B5EF4-FFF2-40B4-BE49-F238E27FC236}">
                <a16:creationId xmlns:a16="http://schemas.microsoft.com/office/drawing/2014/main" id="{4E6CE6DE-F7BE-4C37-BBB2-BA119EE3AF04}"/>
              </a:ext>
            </a:extLst>
          </p:cNvPr>
          <p:cNvSpPr txBox="1"/>
          <p:nvPr/>
        </p:nvSpPr>
        <p:spPr>
          <a:xfrm>
            <a:off x="4547985" y="1393380"/>
            <a:ext cx="3096145" cy="615553"/>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Inform application decisions</a:t>
            </a:r>
          </a:p>
        </p:txBody>
      </p:sp>
      <p:sp>
        <p:nvSpPr>
          <p:cNvPr id="56" name="Oval 55">
            <a:extLst>
              <a:ext uri="{FF2B5EF4-FFF2-40B4-BE49-F238E27FC236}">
                <a16:creationId xmlns:a16="http://schemas.microsoft.com/office/drawing/2014/main" id="{3238DB5E-05FF-4726-85CB-4423E3D6E774}"/>
              </a:ext>
            </a:extLst>
          </p:cNvPr>
          <p:cNvSpPr/>
          <p:nvPr/>
        </p:nvSpPr>
        <p:spPr>
          <a:xfrm>
            <a:off x="8538688" y="2166879"/>
            <a:ext cx="1950042" cy="1950042"/>
          </a:xfrm>
          <a:prstGeom prst="ellipse">
            <a:avLst/>
          </a:prstGeom>
          <a:solidFill>
            <a:srgbClr val="005487"/>
          </a:solidFill>
          <a:ln w="76200" cap="flat" cmpd="sng" algn="ctr">
            <a:noFill/>
            <a:prstDash val="solid"/>
          </a:ln>
          <a:effectLst/>
          <a:extLst>
            <a:ext uri="{91240B29-F687-4F45-9708-019B960494DF}">
              <a14:hiddenLine xmlns:a14="http://schemas.microsoft.com/office/drawing/2010/main" w="76200" cap="flat" cmpd="sng" algn="ctr">
                <a:gradFill flip="none" rotWithShape="1">
                  <a:gsLst>
                    <a:gs pos="0">
                      <a:srgbClr val="0E213E"/>
                    </a:gs>
                    <a:gs pos="100000">
                      <a:srgbClr val="12284C"/>
                    </a:gs>
                  </a:gsLst>
                  <a:lin ang="2700000" scaled="1"/>
                  <a:tileRect/>
                </a:gradFill>
                <a:prstDash val="solid"/>
              </a14:hiddenLine>
            </a:ext>
          </a:ex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2284C"/>
              </a:solidFill>
              <a:effectLst/>
              <a:uLnTx/>
              <a:uFillTx/>
              <a:latin typeface="Open Sans"/>
              <a:ea typeface="+mn-ea"/>
              <a:cs typeface="+mn-cs"/>
            </a:endParaRPr>
          </a:p>
        </p:txBody>
      </p:sp>
      <p:sp>
        <p:nvSpPr>
          <p:cNvPr id="57" name="TextBox 56">
            <a:extLst>
              <a:ext uri="{FF2B5EF4-FFF2-40B4-BE49-F238E27FC236}">
                <a16:creationId xmlns:a16="http://schemas.microsoft.com/office/drawing/2014/main" id="{65E743AF-5030-414F-A02F-844A6B0F38AA}"/>
              </a:ext>
            </a:extLst>
          </p:cNvPr>
          <p:cNvSpPr txBox="1"/>
          <p:nvPr/>
        </p:nvSpPr>
        <p:spPr>
          <a:xfrm>
            <a:off x="8234311" y="1393380"/>
            <a:ext cx="2558797" cy="615553"/>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Support future reporting</a:t>
            </a:r>
          </a:p>
        </p:txBody>
      </p:sp>
      <p:sp>
        <p:nvSpPr>
          <p:cNvPr id="58" name="Oval 57">
            <a:extLst>
              <a:ext uri="{FF2B5EF4-FFF2-40B4-BE49-F238E27FC236}">
                <a16:creationId xmlns:a16="http://schemas.microsoft.com/office/drawing/2014/main" id="{45B75591-3BB0-462D-B20D-C2B0E9056B08}"/>
              </a:ext>
            </a:extLst>
          </p:cNvPr>
          <p:cNvSpPr/>
          <p:nvPr/>
        </p:nvSpPr>
        <p:spPr>
          <a:xfrm>
            <a:off x="1703388" y="2166879"/>
            <a:ext cx="1950042" cy="1950042"/>
          </a:xfrm>
          <a:prstGeom prst="ellipse">
            <a:avLst/>
          </a:prstGeom>
          <a:solidFill>
            <a:srgbClr val="07B597"/>
          </a:solidFill>
          <a:ln w="76200" cap="flat" cmpd="sng" algn="ctr">
            <a:noFill/>
            <a:prstDash val="solid"/>
            <a:round/>
            <a:headEnd type="none" w="med" len="med"/>
            <a:tailEnd type="none" w="med" len="med"/>
          </a:ln>
          <a:effectLst/>
          <a:extLst>
            <a:ext uri="{91240B29-F687-4F45-9708-019B960494DF}">
              <a14:hiddenLine xmlns:a14="http://schemas.microsoft.com/office/drawing/2010/main" w="76200" cap="flat" cmpd="sng" algn="ctr">
                <a:gradFill flip="none" rotWithShape="1">
                  <a:gsLst>
                    <a:gs pos="0">
                      <a:srgbClr val="0E213E"/>
                    </a:gs>
                    <a:gs pos="100000">
                      <a:srgbClr val="12284C"/>
                    </a:gs>
                  </a:gsLst>
                  <a:lin ang="2700000" scaled="1"/>
                  <a:tileRect/>
                </a:gradFill>
                <a:prstDash val="solid"/>
                <a:round/>
                <a:headEnd type="none" w="med" len="med"/>
                <a:tailEnd type="none" w="med" len="med"/>
              </a14:hiddenLine>
            </a:ext>
          </a:ex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2284C"/>
              </a:solidFill>
              <a:effectLst/>
              <a:uLnTx/>
              <a:uFillTx/>
              <a:latin typeface="Open Sans"/>
              <a:ea typeface="+mn-ea"/>
              <a:cs typeface="+mn-cs"/>
            </a:endParaRPr>
          </a:p>
        </p:txBody>
      </p:sp>
      <p:sp>
        <p:nvSpPr>
          <p:cNvPr id="59" name="TextBox 58">
            <a:extLst>
              <a:ext uri="{FF2B5EF4-FFF2-40B4-BE49-F238E27FC236}">
                <a16:creationId xmlns:a16="http://schemas.microsoft.com/office/drawing/2014/main" id="{43425879-8491-4438-9B0E-1A4DD33F0832}"/>
              </a:ext>
            </a:extLst>
          </p:cNvPr>
          <p:cNvSpPr txBox="1"/>
          <p:nvPr/>
        </p:nvSpPr>
        <p:spPr>
          <a:xfrm>
            <a:off x="1399011" y="1701156"/>
            <a:ext cx="2558797" cy="307777"/>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Ensure compliance</a:t>
            </a:r>
          </a:p>
        </p:txBody>
      </p:sp>
      <p:sp>
        <p:nvSpPr>
          <p:cNvPr id="60" name="TextBox 59">
            <a:extLst>
              <a:ext uri="{FF2B5EF4-FFF2-40B4-BE49-F238E27FC236}">
                <a16:creationId xmlns:a16="http://schemas.microsoft.com/office/drawing/2014/main" id="{AF6B9730-865C-46DE-8E29-4DF4EFEB87EA}"/>
              </a:ext>
            </a:extLst>
          </p:cNvPr>
          <p:cNvSpPr txBox="1"/>
          <p:nvPr/>
        </p:nvSpPr>
        <p:spPr>
          <a:xfrm>
            <a:off x="1300957" y="4344001"/>
            <a:ext cx="2754904" cy="1107996"/>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Collect all information </a:t>
            </a:r>
            <a:r>
              <a:rPr kumimoji="0" lang="en-US" sz="1800" b="1"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required</a:t>
            </a:r>
            <a:r>
              <a:rPr kumimoji="0" lang="en-US" sz="1800" b="0"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 under state / federal law and confirm applicant </a:t>
            </a:r>
            <a:r>
              <a:rPr kumimoji="0" lang="en-US" sz="1800" b="1"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eligibility</a:t>
            </a:r>
            <a:endParaRPr kumimoji="0" lang="en-US" sz="1800" b="0"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id="{C2AEDE93-3BF1-4038-BFBD-171A197FF327}"/>
              </a:ext>
            </a:extLst>
          </p:cNvPr>
          <p:cNvSpPr txBox="1"/>
          <p:nvPr/>
        </p:nvSpPr>
        <p:spPr>
          <a:xfrm>
            <a:off x="4718606" y="4344001"/>
            <a:ext cx="2754904" cy="138499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Gather sufficient information to </a:t>
            </a:r>
            <a:r>
              <a:rPr kumimoji="0" lang="en-US" sz="1800" b="1"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prioritize</a:t>
            </a:r>
            <a:r>
              <a:rPr kumimoji="0" lang="en-US" sz="1800" b="0"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 and </a:t>
            </a:r>
            <a:r>
              <a:rPr kumimoji="0" lang="en-US" sz="1800" b="1"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make recommendations </a:t>
            </a:r>
            <a:r>
              <a:rPr kumimoji="0" lang="en-US" sz="1800" b="0"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across applications</a:t>
            </a:r>
          </a:p>
        </p:txBody>
      </p:sp>
      <p:sp>
        <p:nvSpPr>
          <p:cNvPr id="62" name="TextBox 61">
            <a:extLst>
              <a:ext uri="{FF2B5EF4-FFF2-40B4-BE49-F238E27FC236}">
                <a16:creationId xmlns:a16="http://schemas.microsoft.com/office/drawing/2014/main" id="{E820A15A-FD0A-4649-AF37-433941E9E44C}"/>
              </a:ext>
            </a:extLst>
          </p:cNvPr>
          <p:cNvSpPr txBox="1"/>
          <p:nvPr/>
        </p:nvSpPr>
        <p:spPr>
          <a:xfrm>
            <a:off x="8051517" y="4344001"/>
            <a:ext cx="2924387" cy="1107996"/>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Demonstrate the </a:t>
            </a:r>
            <a:r>
              <a:rPr kumimoji="0" lang="en-US" sz="1800" b="1"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need </a:t>
            </a:r>
            <a:r>
              <a:rPr kumimoji="0" lang="en-US" sz="1800" b="0"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for and </a:t>
            </a:r>
            <a:r>
              <a:rPr kumimoji="0" lang="en-US" sz="1800" b="1"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impact</a:t>
            </a:r>
            <a:r>
              <a:rPr kumimoji="0" lang="en-US" sz="1800" b="0" i="0" u="none" strike="noStrike" kern="1200" cap="none" spc="0" normalizeH="0" baseline="0" noProof="0" dirty="0">
                <a:ln>
                  <a:noFill/>
                </a:ln>
                <a:solidFill>
                  <a:srgbClr val="12284C"/>
                </a:solidFill>
                <a:effectLst/>
                <a:uLnTx/>
                <a:uFillTx/>
                <a:latin typeface="Open Sans" panose="020B0606030504020204" pitchFamily="34" charset="0"/>
                <a:ea typeface="Open Sans" panose="020B0606030504020204" pitchFamily="34" charset="0"/>
                <a:cs typeface="Open Sans" panose="020B0606030504020204" pitchFamily="34" charset="0"/>
              </a:rPr>
              <a:t> of funds - now and over the course of the program</a:t>
            </a:r>
          </a:p>
        </p:txBody>
      </p:sp>
      <p:grpSp>
        <p:nvGrpSpPr>
          <p:cNvPr id="100" name="Group 99">
            <a:extLst>
              <a:ext uri="{FF2B5EF4-FFF2-40B4-BE49-F238E27FC236}">
                <a16:creationId xmlns:a16="http://schemas.microsoft.com/office/drawing/2014/main" id="{0E87151E-C310-45C6-8394-14D8DFCDFD22}"/>
              </a:ext>
            </a:extLst>
          </p:cNvPr>
          <p:cNvGrpSpPr>
            <a:grpSpLocks noChangeAspect="1"/>
          </p:cNvGrpSpPr>
          <p:nvPr/>
        </p:nvGrpSpPr>
        <p:grpSpPr>
          <a:xfrm>
            <a:off x="8895978" y="2523598"/>
            <a:ext cx="1237799" cy="1236605"/>
            <a:chOff x="5273675" y="2606675"/>
            <a:chExt cx="1646238" cy="1644650"/>
          </a:xfrm>
        </p:grpSpPr>
        <p:sp>
          <p:nvSpPr>
            <p:cNvPr id="101" name="AutoShape 3">
              <a:extLst>
                <a:ext uri="{FF2B5EF4-FFF2-40B4-BE49-F238E27FC236}">
                  <a16:creationId xmlns:a16="http://schemas.microsoft.com/office/drawing/2014/main" id="{8C006B49-CAC8-4EA4-A402-AEBEA254AC67}"/>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106" name="Freeform 23">
              <a:extLst>
                <a:ext uri="{FF2B5EF4-FFF2-40B4-BE49-F238E27FC236}">
                  <a16:creationId xmlns:a16="http://schemas.microsoft.com/office/drawing/2014/main" id="{524F407D-A642-4457-96B9-54A2F78D8C4D}"/>
                </a:ext>
              </a:extLst>
            </p:cNvPr>
            <p:cNvSpPr>
              <a:spLocks/>
            </p:cNvSpPr>
            <p:nvPr/>
          </p:nvSpPr>
          <p:spPr bwMode="auto">
            <a:xfrm>
              <a:off x="5495925" y="2720975"/>
              <a:ext cx="1198563" cy="1360488"/>
            </a:xfrm>
            <a:custGeom>
              <a:avLst/>
              <a:gdLst>
                <a:gd name="connsiteX0" fmla="*/ 94285 w 1198563"/>
                <a:gd name="connsiteY0" fmla="*/ 1196975 h 1360488"/>
                <a:gd name="connsiteX1" fmla="*/ 1104278 w 1198563"/>
                <a:gd name="connsiteY1" fmla="*/ 1196975 h 1360488"/>
                <a:gd name="connsiteX2" fmla="*/ 1119992 w 1198563"/>
                <a:gd name="connsiteY2" fmla="*/ 1212753 h 1360488"/>
                <a:gd name="connsiteX3" fmla="*/ 1119992 w 1198563"/>
                <a:gd name="connsiteY3" fmla="*/ 1244308 h 1360488"/>
                <a:gd name="connsiteX4" fmla="*/ 1182849 w 1198563"/>
                <a:gd name="connsiteY4" fmla="*/ 1244308 h 1360488"/>
                <a:gd name="connsiteX5" fmla="*/ 1198563 w 1198563"/>
                <a:gd name="connsiteY5" fmla="*/ 1260085 h 1360488"/>
                <a:gd name="connsiteX6" fmla="*/ 1198563 w 1198563"/>
                <a:gd name="connsiteY6" fmla="*/ 1344711 h 1360488"/>
                <a:gd name="connsiteX7" fmla="*/ 1182849 w 1198563"/>
                <a:gd name="connsiteY7" fmla="*/ 1360488 h 1360488"/>
                <a:gd name="connsiteX8" fmla="*/ 15714 w 1198563"/>
                <a:gd name="connsiteY8" fmla="*/ 1360488 h 1360488"/>
                <a:gd name="connsiteX9" fmla="*/ 0 w 1198563"/>
                <a:gd name="connsiteY9" fmla="*/ 1344711 h 1360488"/>
                <a:gd name="connsiteX10" fmla="*/ 0 w 1198563"/>
                <a:gd name="connsiteY10" fmla="*/ 1260085 h 1360488"/>
                <a:gd name="connsiteX11" fmla="*/ 15714 w 1198563"/>
                <a:gd name="connsiteY11" fmla="*/ 1244308 h 1360488"/>
                <a:gd name="connsiteX12" fmla="*/ 78571 w 1198563"/>
                <a:gd name="connsiteY12" fmla="*/ 1244308 h 1360488"/>
                <a:gd name="connsiteX13" fmla="*/ 78571 w 1198563"/>
                <a:gd name="connsiteY13" fmla="*/ 1212753 h 1360488"/>
                <a:gd name="connsiteX14" fmla="*/ 94285 w 1198563"/>
                <a:gd name="connsiteY14" fmla="*/ 1196975 h 1360488"/>
                <a:gd name="connsiteX15" fmla="*/ 1025600 w 1198563"/>
                <a:gd name="connsiteY15" fmla="*/ 728663 h 1360488"/>
                <a:gd name="connsiteX16" fmla="*/ 1085775 w 1198563"/>
                <a:gd name="connsiteY16" fmla="*/ 728663 h 1360488"/>
                <a:gd name="connsiteX17" fmla="*/ 1093025 w 1198563"/>
                <a:gd name="connsiteY17" fmla="*/ 735802 h 1360488"/>
                <a:gd name="connsiteX18" fmla="*/ 1101725 w 1198563"/>
                <a:gd name="connsiteY18" fmla="*/ 1146975 h 1360488"/>
                <a:gd name="connsiteX19" fmla="*/ 1094475 w 1198563"/>
                <a:gd name="connsiteY19" fmla="*/ 1154113 h 1360488"/>
                <a:gd name="connsiteX20" fmla="*/ 1016900 w 1198563"/>
                <a:gd name="connsiteY20" fmla="*/ 1154113 h 1360488"/>
                <a:gd name="connsiteX21" fmla="*/ 1009650 w 1198563"/>
                <a:gd name="connsiteY21" fmla="*/ 1146975 h 1360488"/>
                <a:gd name="connsiteX22" fmla="*/ 1018350 w 1198563"/>
                <a:gd name="connsiteY22" fmla="*/ 735802 h 1360488"/>
                <a:gd name="connsiteX23" fmla="*/ 1025600 w 1198563"/>
                <a:gd name="connsiteY23" fmla="*/ 728663 h 1360488"/>
                <a:gd name="connsiteX24" fmla="*/ 842914 w 1198563"/>
                <a:gd name="connsiteY24" fmla="*/ 728663 h 1360488"/>
                <a:gd name="connsiteX25" fmla="*/ 903338 w 1198563"/>
                <a:gd name="connsiteY25" fmla="*/ 728663 h 1360488"/>
                <a:gd name="connsiteX26" fmla="*/ 910531 w 1198563"/>
                <a:gd name="connsiteY26" fmla="*/ 735802 h 1360488"/>
                <a:gd name="connsiteX27" fmla="*/ 919163 w 1198563"/>
                <a:gd name="connsiteY27" fmla="*/ 1146975 h 1360488"/>
                <a:gd name="connsiteX28" fmla="*/ 911970 w 1198563"/>
                <a:gd name="connsiteY28" fmla="*/ 1154113 h 1360488"/>
                <a:gd name="connsiteX29" fmla="*/ 834282 w 1198563"/>
                <a:gd name="connsiteY29" fmla="*/ 1154113 h 1360488"/>
                <a:gd name="connsiteX30" fmla="*/ 827088 w 1198563"/>
                <a:gd name="connsiteY30" fmla="*/ 1146975 h 1360488"/>
                <a:gd name="connsiteX31" fmla="*/ 835720 w 1198563"/>
                <a:gd name="connsiteY31" fmla="*/ 735802 h 1360488"/>
                <a:gd name="connsiteX32" fmla="*/ 842914 w 1198563"/>
                <a:gd name="connsiteY32" fmla="*/ 728663 h 1360488"/>
                <a:gd name="connsiteX33" fmla="*/ 660351 w 1198563"/>
                <a:gd name="connsiteY33" fmla="*/ 728663 h 1360488"/>
                <a:gd name="connsiteX34" fmla="*/ 720056 w 1198563"/>
                <a:gd name="connsiteY34" fmla="*/ 728663 h 1360488"/>
                <a:gd name="connsiteX35" fmla="*/ 727249 w 1198563"/>
                <a:gd name="connsiteY35" fmla="*/ 735802 h 1360488"/>
                <a:gd name="connsiteX36" fmla="*/ 736600 w 1198563"/>
                <a:gd name="connsiteY36" fmla="*/ 1146975 h 1360488"/>
                <a:gd name="connsiteX37" fmla="*/ 728688 w 1198563"/>
                <a:gd name="connsiteY37" fmla="*/ 1154113 h 1360488"/>
                <a:gd name="connsiteX38" fmla="*/ 651719 w 1198563"/>
                <a:gd name="connsiteY38" fmla="*/ 1154113 h 1360488"/>
                <a:gd name="connsiteX39" fmla="*/ 644525 w 1198563"/>
                <a:gd name="connsiteY39" fmla="*/ 1146975 h 1360488"/>
                <a:gd name="connsiteX40" fmla="*/ 653157 w 1198563"/>
                <a:gd name="connsiteY40" fmla="*/ 735802 h 1360488"/>
                <a:gd name="connsiteX41" fmla="*/ 660351 w 1198563"/>
                <a:gd name="connsiteY41" fmla="*/ 728663 h 1360488"/>
                <a:gd name="connsiteX42" fmla="*/ 478507 w 1198563"/>
                <a:gd name="connsiteY42" fmla="*/ 728663 h 1360488"/>
                <a:gd name="connsiteX43" fmla="*/ 538212 w 1198563"/>
                <a:gd name="connsiteY43" fmla="*/ 728663 h 1360488"/>
                <a:gd name="connsiteX44" fmla="*/ 545406 w 1198563"/>
                <a:gd name="connsiteY44" fmla="*/ 735802 h 1360488"/>
                <a:gd name="connsiteX45" fmla="*/ 554038 w 1198563"/>
                <a:gd name="connsiteY45" fmla="*/ 1146975 h 1360488"/>
                <a:gd name="connsiteX46" fmla="*/ 546844 w 1198563"/>
                <a:gd name="connsiteY46" fmla="*/ 1154113 h 1360488"/>
                <a:gd name="connsiteX47" fmla="*/ 469875 w 1198563"/>
                <a:gd name="connsiteY47" fmla="*/ 1154113 h 1360488"/>
                <a:gd name="connsiteX48" fmla="*/ 461963 w 1198563"/>
                <a:gd name="connsiteY48" fmla="*/ 1146975 h 1360488"/>
                <a:gd name="connsiteX49" fmla="*/ 471314 w 1198563"/>
                <a:gd name="connsiteY49" fmla="*/ 735802 h 1360488"/>
                <a:gd name="connsiteX50" fmla="*/ 478507 w 1198563"/>
                <a:gd name="connsiteY50" fmla="*/ 728663 h 1360488"/>
                <a:gd name="connsiteX51" fmla="*/ 295225 w 1198563"/>
                <a:gd name="connsiteY51" fmla="*/ 728663 h 1360488"/>
                <a:gd name="connsiteX52" fmla="*/ 355649 w 1198563"/>
                <a:gd name="connsiteY52" fmla="*/ 728663 h 1360488"/>
                <a:gd name="connsiteX53" fmla="*/ 362843 w 1198563"/>
                <a:gd name="connsiteY53" fmla="*/ 735802 h 1360488"/>
                <a:gd name="connsiteX54" fmla="*/ 371475 w 1198563"/>
                <a:gd name="connsiteY54" fmla="*/ 1146975 h 1360488"/>
                <a:gd name="connsiteX55" fmla="*/ 364281 w 1198563"/>
                <a:gd name="connsiteY55" fmla="*/ 1154113 h 1360488"/>
                <a:gd name="connsiteX56" fmla="*/ 286593 w 1198563"/>
                <a:gd name="connsiteY56" fmla="*/ 1154113 h 1360488"/>
                <a:gd name="connsiteX57" fmla="*/ 279400 w 1198563"/>
                <a:gd name="connsiteY57" fmla="*/ 1146975 h 1360488"/>
                <a:gd name="connsiteX58" fmla="*/ 288032 w 1198563"/>
                <a:gd name="connsiteY58" fmla="*/ 735802 h 1360488"/>
                <a:gd name="connsiteX59" fmla="*/ 295225 w 1198563"/>
                <a:gd name="connsiteY59" fmla="*/ 728663 h 1360488"/>
                <a:gd name="connsiteX60" fmla="*/ 112663 w 1198563"/>
                <a:gd name="connsiteY60" fmla="*/ 728663 h 1360488"/>
                <a:gd name="connsiteX61" fmla="*/ 172368 w 1198563"/>
                <a:gd name="connsiteY61" fmla="*/ 728663 h 1360488"/>
                <a:gd name="connsiteX62" fmla="*/ 179561 w 1198563"/>
                <a:gd name="connsiteY62" fmla="*/ 735802 h 1360488"/>
                <a:gd name="connsiteX63" fmla="*/ 188913 w 1198563"/>
                <a:gd name="connsiteY63" fmla="*/ 1146975 h 1360488"/>
                <a:gd name="connsiteX64" fmla="*/ 181719 w 1198563"/>
                <a:gd name="connsiteY64" fmla="*/ 1154113 h 1360488"/>
                <a:gd name="connsiteX65" fmla="*/ 104031 w 1198563"/>
                <a:gd name="connsiteY65" fmla="*/ 1154113 h 1360488"/>
                <a:gd name="connsiteX66" fmla="*/ 96838 w 1198563"/>
                <a:gd name="connsiteY66" fmla="*/ 1146975 h 1360488"/>
                <a:gd name="connsiteX67" fmla="*/ 105470 w 1198563"/>
                <a:gd name="connsiteY67" fmla="*/ 735802 h 1360488"/>
                <a:gd name="connsiteX68" fmla="*/ 112663 w 1198563"/>
                <a:gd name="connsiteY68" fmla="*/ 728663 h 1360488"/>
                <a:gd name="connsiteX69" fmla="*/ 39688 w 1198563"/>
                <a:gd name="connsiteY69" fmla="*/ 593725 h 1360488"/>
                <a:gd name="connsiteX70" fmla="*/ 39688 w 1198563"/>
                <a:gd name="connsiteY70" fmla="*/ 655638 h 1360488"/>
                <a:gd name="connsiteX71" fmla="*/ 1158876 w 1198563"/>
                <a:gd name="connsiteY71" fmla="*/ 655638 h 1360488"/>
                <a:gd name="connsiteX72" fmla="*/ 1158876 w 1198563"/>
                <a:gd name="connsiteY72" fmla="*/ 593725 h 1360488"/>
                <a:gd name="connsiteX73" fmla="*/ 39688 w 1198563"/>
                <a:gd name="connsiteY73" fmla="*/ 593725 h 1360488"/>
                <a:gd name="connsiteX74" fmla="*/ 599282 w 1198563"/>
                <a:gd name="connsiteY74" fmla="*/ 325438 h 1360488"/>
                <a:gd name="connsiteX75" fmla="*/ 292100 w 1198563"/>
                <a:gd name="connsiteY75" fmla="*/ 561976 h 1360488"/>
                <a:gd name="connsiteX76" fmla="*/ 906463 w 1198563"/>
                <a:gd name="connsiteY76" fmla="*/ 561976 h 1360488"/>
                <a:gd name="connsiteX77" fmla="*/ 599282 w 1198563"/>
                <a:gd name="connsiteY77" fmla="*/ 325438 h 1360488"/>
                <a:gd name="connsiteX78" fmla="*/ 599282 w 1198563"/>
                <a:gd name="connsiteY78" fmla="*/ 293688 h 1360488"/>
                <a:gd name="connsiteX79" fmla="*/ 819251 w 1198563"/>
                <a:gd name="connsiteY79" fmla="*/ 371539 h 1360488"/>
                <a:gd name="connsiteX80" fmla="*/ 938519 w 1198563"/>
                <a:gd name="connsiteY80" fmla="*/ 561525 h 1360488"/>
                <a:gd name="connsiteX81" fmla="*/ 1174914 w 1198563"/>
                <a:gd name="connsiteY81" fmla="*/ 561525 h 1360488"/>
                <a:gd name="connsiteX82" fmla="*/ 1190626 w 1198563"/>
                <a:gd name="connsiteY82" fmla="*/ 577238 h 1360488"/>
                <a:gd name="connsiteX83" fmla="*/ 1190626 w 1198563"/>
                <a:gd name="connsiteY83" fmla="*/ 670088 h 1360488"/>
                <a:gd name="connsiteX84" fmla="*/ 1174914 w 1198563"/>
                <a:gd name="connsiteY84" fmla="*/ 685801 h 1360488"/>
                <a:gd name="connsiteX85" fmla="*/ 23650 w 1198563"/>
                <a:gd name="connsiteY85" fmla="*/ 685801 h 1360488"/>
                <a:gd name="connsiteX86" fmla="*/ 7938 w 1198563"/>
                <a:gd name="connsiteY86" fmla="*/ 670088 h 1360488"/>
                <a:gd name="connsiteX87" fmla="*/ 7938 w 1198563"/>
                <a:gd name="connsiteY87" fmla="*/ 577238 h 1360488"/>
                <a:gd name="connsiteX88" fmla="*/ 23650 w 1198563"/>
                <a:gd name="connsiteY88" fmla="*/ 561525 h 1360488"/>
                <a:gd name="connsiteX89" fmla="*/ 260045 w 1198563"/>
                <a:gd name="connsiteY89" fmla="*/ 561525 h 1360488"/>
                <a:gd name="connsiteX90" fmla="*/ 380028 w 1198563"/>
                <a:gd name="connsiteY90" fmla="*/ 370825 h 1360488"/>
                <a:gd name="connsiteX91" fmla="*/ 599282 w 1198563"/>
                <a:gd name="connsiteY91" fmla="*/ 293688 h 1360488"/>
                <a:gd name="connsiteX92" fmla="*/ 583749 w 1198563"/>
                <a:gd name="connsiteY92" fmla="*/ 0 h 1360488"/>
                <a:gd name="connsiteX93" fmla="*/ 611769 w 1198563"/>
                <a:gd name="connsiteY93" fmla="*/ 0 h 1360488"/>
                <a:gd name="connsiteX94" fmla="*/ 838804 w 1198563"/>
                <a:gd name="connsiteY94" fmla="*/ 0 h 1360488"/>
                <a:gd name="connsiteX95" fmla="*/ 841677 w 1198563"/>
                <a:gd name="connsiteY95" fmla="*/ 7830 h 1360488"/>
                <a:gd name="connsiteX96" fmla="*/ 783482 w 1198563"/>
                <a:gd name="connsiteY96" fmla="*/ 65485 h 1360488"/>
                <a:gd name="connsiteX97" fmla="*/ 783482 w 1198563"/>
                <a:gd name="connsiteY97" fmla="*/ 71891 h 1360488"/>
                <a:gd name="connsiteX98" fmla="*/ 841677 w 1198563"/>
                <a:gd name="connsiteY98" fmla="*/ 129546 h 1360488"/>
                <a:gd name="connsiteX99" fmla="*/ 838804 w 1198563"/>
                <a:gd name="connsiteY99" fmla="*/ 137375 h 1360488"/>
                <a:gd name="connsiteX100" fmla="*/ 621109 w 1198563"/>
                <a:gd name="connsiteY100" fmla="*/ 137375 h 1360488"/>
                <a:gd name="connsiteX101" fmla="*/ 616798 w 1198563"/>
                <a:gd name="connsiteY101" fmla="*/ 142358 h 1360488"/>
                <a:gd name="connsiteX102" fmla="*/ 616798 w 1198563"/>
                <a:gd name="connsiteY102" fmla="*/ 261938 h 1360488"/>
                <a:gd name="connsiteX103" fmla="*/ 598837 w 1198563"/>
                <a:gd name="connsiteY103" fmla="*/ 261938 h 1360488"/>
                <a:gd name="connsiteX104" fmla="*/ 579438 w 1198563"/>
                <a:gd name="connsiteY104" fmla="*/ 261938 h 1360488"/>
                <a:gd name="connsiteX105" fmla="*/ 579438 w 1198563"/>
                <a:gd name="connsiteY105" fmla="*/ 137375 h 1360488"/>
                <a:gd name="connsiteX106" fmla="*/ 579438 w 1198563"/>
                <a:gd name="connsiteY106" fmla="*/ 4983 h 1360488"/>
                <a:gd name="connsiteX107" fmla="*/ 583749 w 1198563"/>
                <a:gd name="connsiteY107" fmla="*/ 0 h 136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198563" h="1360488">
                  <a:moveTo>
                    <a:pt x="94285" y="1196975"/>
                  </a:moveTo>
                  <a:cubicBezTo>
                    <a:pt x="94285" y="1196975"/>
                    <a:pt x="94285" y="1196975"/>
                    <a:pt x="1104278" y="1196975"/>
                  </a:cubicBezTo>
                  <a:cubicBezTo>
                    <a:pt x="1112850" y="1196975"/>
                    <a:pt x="1119992" y="1204147"/>
                    <a:pt x="1119992" y="1212753"/>
                  </a:cubicBezTo>
                  <a:cubicBezTo>
                    <a:pt x="1119992" y="1212753"/>
                    <a:pt x="1119992" y="1212753"/>
                    <a:pt x="1119992" y="1244308"/>
                  </a:cubicBezTo>
                  <a:cubicBezTo>
                    <a:pt x="1119992" y="1244308"/>
                    <a:pt x="1119992" y="1244308"/>
                    <a:pt x="1182849" y="1244308"/>
                  </a:cubicBezTo>
                  <a:cubicBezTo>
                    <a:pt x="1191420" y="1244308"/>
                    <a:pt x="1198563" y="1251479"/>
                    <a:pt x="1198563" y="1260085"/>
                  </a:cubicBezTo>
                  <a:cubicBezTo>
                    <a:pt x="1198563" y="1260085"/>
                    <a:pt x="1198563" y="1260085"/>
                    <a:pt x="1198563" y="1344711"/>
                  </a:cubicBezTo>
                  <a:cubicBezTo>
                    <a:pt x="1198563" y="1353317"/>
                    <a:pt x="1191420" y="1360488"/>
                    <a:pt x="1182849" y="1360488"/>
                  </a:cubicBezTo>
                  <a:cubicBezTo>
                    <a:pt x="1182849" y="1360488"/>
                    <a:pt x="1182849" y="1360488"/>
                    <a:pt x="15714" y="1360488"/>
                  </a:cubicBezTo>
                  <a:cubicBezTo>
                    <a:pt x="7143" y="1360488"/>
                    <a:pt x="0" y="1353317"/>
                    <a:pt x="0" y="1344711"/>
                  </a:cubicBezTo>
                  <a:cubicBezTo>
                    <a:pt x="0" y="1344711"/>
                    <a:pt x="0" y="1344711"/>
                    <a:pt x="0" y="1260085"/>
                  </a:cubicBezTo>
                  <a:cubicBezTo>
                    <a:pt x="0" y="1251479"/>
                    <a:pt x="7143" y="1244308"/>
                    <a:pt x="15714" y="1244308"/>
                  </a:cubicBezTo>
                  <a:cubicBezTo>
                    <a:pt x="15714" y="1244308"/>
                    <a:pt x="15714" y="1244308"/>
                    <a:pt x="78571" y="1244308"/>
                  </a:cubicBezTo>
                  <a:cubicBezTo>
                    <a:pt x="78571" y="1244308"/>
                    <a:pt x="78571" y="1244308"/>
                    <a:pt x="78571" y="1212753"/>
                  </a:cubicBezTo>
                  <a:cubicBezTo>
                    <a:pt x="78571" y="1204147"/>
                    <a:pt x="85713" y="1196975"/>
                    <a:pt x="94285" y="1196975"/>
                  </a:cubicBezTo>
                  <a:close/>
                  <a:moveTo>
                    <a:pt x="1025600" y="728663"/>
                  </a:moveTo>
                  <a:cubicBezTo>
                    <a:pt x="1025600" y="728663"/>
                    <a:pt x="1025600" y="728663"/>
                    <a:pt x="1085775" y="728663"/>
                  </a:cubicBezTo>
                  <a:cubicBezTo>
                    <a:pt x="1090125" y="728663"/>
                    <a:pt x="1093025" y="732232"/>
                    <a:pt x="1093025" y="735802"/>
                  </a:cubicBezTo>
                  <a:cubicBezTo>
                    <a:pt x="1093025" y="735802"/>
                    <a:pt x="1093025" y="735802"/>
                    <a:pt x="1101725" y="1146975"/>
                  </a:cubicBezTo>
                  <a:cubicBezTo>
                    <a:pt x="1101725" y="1150544"/>
                    <a:pt x="1098825" y="1154113"/>
                    <a:pt x="1094475" y="1154113"/>
                  </a:cubicBezTo>
                  <a:cubicBezTo>
                    <a:pt x="1094475" y="1154113"/>
                    <a:pt x="1094475" y="1154113"/>
                    <a:pt x="1016900" y="1154113"/>
                  </a:cubicBezTo>
                  <a:cubicBezTo>
                    <a:pt x="1012550" y="1154113"/>
                    <a:pt x="1009650" y="1150544"/>
                    <a:pt x="1009650" y="1146975"/>
                  </a:cubicBezTo>
                  <a:cubicBezTo>
                    <a:pt x="1009650" y="1146975"/>
                    <a:pt x="1009650" y="1146975"/>
                    <a:pt x="1018350" y="735802"/>
                  </a:cubicBezTo>
                  <a:cubicBezTo>
                    <a:pt x="1018350" y="732232"/>
                    <a:pt x="1021250" y="728663"/>
                    <a:pt x="1025600" y="728663"/>
                  </a:cubicBezTo>
                  <a:close/>
                  <a:moveTo>
                    <a:pt x="842914" y="728663"/>
                  </a:moveTo>
                  <a:cubicBezTo>
                    <a:pt x="842914" y="728663"/>
                    <a:pt x="842914" y="728663"/>
                    <a:pt x="903338" y="728663"/>
                  </a:cubicBezTo>
                  <a:cubicBezTo>
                    <a:pt x="906935" y="728663"/>
                    <a:pt x="910531" y="732232"/>
                    <a:pt x="910531" y="735802"/>
                  </a:cubicBezTo>
                  <a:cubicBezTo>
                    <a:pt x="910531" y="735802"/>
                    <a:pt x="910531" y="735802"/>
                    <a:pt x="919163" y="1146975"/>
                  </a:cubicBezTo>
                  <a:cubicBezTo>
                    <a:pt x="919163" y="1150544"/>
                    <a:pt x="915567" y="1154113"/>
                    <a:pt x="911970" y="1154113"/>
                  </a:cubicBezTo>
                  <a:cubicBezTo>
                    <a:pt x="911970" y="1154113"/>
                    <a:pt x="911970" y="1154113"/>
                    <a:pt x="834282" y="1154113"/>
                  </a:cubicBezTo>
                  <a:cubicBezTo>
                    <a:pt x="830685" y="1154113"/>
                    <a:pt x="827088" y="1150544"/>
                    <a:pt x="827088" y="1146975"/>
                  </a:cubicBezTo>
                  <a:cubicBezTo>
                    <a:pt x="827088" y="1146975"/>
                    <a:pt x="827088" y="1146975"/>
                    <a:pt x="835720" y="735802"/>
                  </a:cubicBezTo>
                  <a:cubicBezTo>
                    <a:pt x="835720" y="732232"/>
                    <a:pt x="839317" y="728663"/>
                    <a:pt x="842914" y="728663"/>
                  </a:cubicBezTo>
                  <a:close/>
                  <a:moveTo>
                    <a:pt x="660351" y="728663"/>
                  </a:moveTo>
                  <a:cubicBezTo>
                    <a:pt x="660351" y="728663"/>
                    <a:pt x="660351" y="728663"/>
                    <a:pt x="720056" y="728663"/>
                  </a:cubicBezTo>
                  <a:cubicBezTo>
                    <a:pt x="724372" y="728663"/>
                    <a:pt x="727249" y="732232"/>
                    <a:pt x="727249" y="735802"/>
                  </a:cubicBezTo>
                  <a:cubicBezTo>
                    <a:pt x="727249" y="735802"/>
                    <a:pt x="727249" y="735802"/>
                    <a:pt x="736600" y="1146975"/>
                  </a:cubicBezTo>
                  <a:cubicBezTo>
                    <a:pt x="736600" y="1150544"/>
                    <a:pt x="733004" y="1154113"/>
                    <a:pt x="728688" y="1154113"/>
                  </a:cubicBezTo>
                  <a:cubicBezTo>
                    <a:pt x="728688" y="1154113"/>
                    <a:pt x="728688" y="1154113"/>
                    <a:pt x="651719" y="1154113"/>
                  </a:cubicBezTo>
                  <a:cubicBezTo>
                    <a:pt x="647403" y="1154113"/>
                    <a:pt x="644525" y="1150544"/>
                    <a:pt x="644525" y="1146975"/>
                  </a:cubicBezTo>
                  <a:cubicBezTo>
                    <a:pt x="644525" y="1146975"/>
                    <a:pt x="644525" y="1146975"/>
                    <a:pt x="653157" y="735802"/>
                  </a:cubicBezTo>
                  <a:cubicBezTo>
                    <a:pt x="653157" y="732232"/>
                    <a:pt x="656035" y="728663"/>
                    <a:pt x="660351" y="728663"/>
                  </a:cubicBezTo>
                  <a:close/>
                  <a:moveTo>
                    <a:pt x="478507" y="728663"/>
                  </a:moveTo>
                  <a:cubicBezTo>
                    <a:pt x="478507" y="728663"/>
                    <a:pt x="478507" y="728663"/>
                    <a:pt x="538212" y="728663"/>
                  </a:cubicBezTo>
                  <a:cubicBezTo>
                    <a:pt x="542528" y="728663"/>
                    <a:pt x="545406" y="732232"/>
                    <a:pt x="545406" y="735802"/>
                  </a:cubicBezTo>
                  <a:cubicBezTo>
                    <a:pt x="545406" y="735802"/>
                    <a:pt x="545406" y="735802"/>
                    <a:pt x="554038" y="1146975"/>
                  </a:cubicBezTo>
                  <a:cubicBezTo>
                    <a:pt x="554038" y="1150544"/>
                    <a:pt x="551160" y="1154113"/>
                    <a:pt x="546844" y="1154113"/>
                  </a:cubicBezTo>
                  <a:cubicBezTo>
                    <a:pt x="546844" y="1154113"/>
                    <a:pt x="546844" y="1154113"/>
                    <a:pt x="469875" y="1154113"/>
                  </a:cubicBezTo>
                  <a:cubicBezTo>
                    <a:pt x="465559" y="1154113"/>
                    <a:pt x="461963" y="1150544"/>
                    <a:pt x="461963" y="1146975"/>
                  </a:cubicBezTo>
                  <a:cubicBezTo>
                    <a:pt x="461963" y="1146975"/>
                    <a:pt x="461963" y="1146975"/>
                    <a:pt x="471314" y="735802"/>
                  </a:cubicBezTo>
                  <a:cubicBezTo>
                    <a:pt x="471314" y="732232"/>
                    <a:pt x="474191" y="728663"/>
                    <a:pt x="478507" y="728663"/>
                  </a:cubicBezTo>
                  <a:close/>
                  <a:moveTo>
                    <a:pt x="295225" y="728663"/>
                  </a:moveTo>
                  <a:cubicBezTo>
                    <a:pt x="295225" y="728663"/>
                    <a:pt x="295225" y="728663"/>
                    <a:pt x="355649" y="728663"/>
                  </a:cubicBezTo>
                  <a:cubicBezTo>
                    <a:pt x="359246" y="728663"/>
                    <a:pt x="362843" y="732232"/>
                    <a:pt x="362843" y="735802"/>
                  </a:cubicBezTo>
                  <a:cubicBezTo>
                    <a:pt x="362843" y="735802"/>
                    <a:pt x="362843" y="735802"/>
                    <a:pt x="371475" y="1146975"/>
                  </a:cubicBezTo>
                  <a:cubicBezTo>
                    <a:pt x="371475" y="1150544"/>
                    <a:pt x="367878" y="1154113"/>
                    <a:pt x="364281" y="1154113"/>
                  </a:cubicBezTo>
                  <a:cubicBezTo>
                    <a:pt x="364281" y="1154113"/>
                    <a:pt x="364281" y="1154113"/>
                    <a:pt x="286593" y="1154113"/>
                  </a:cubicBezTo>
                  <a:cubicBezTo>
                    <a:pt x="282996" y="1154113"/>
                    <a:pt x="279400" y="1150544"/>
                    <a:pt x="279400" y="1146975"/>
                  </a:cubicBezTo>
                  <a:cubicBezTo>
                    <a:pt x="279400" y="1146975"/>
                    <a:pt x="279400" y="1146975"/>
                    <a:pt x="288032" y="735802"/>
                  </a:cubicBezTo>
                  <a:cubicBezTo>
                    <a:pt x="288032" y="732232"/>
                    <a:pt x="291628" y="728663"/>
                    <a:pt x="295225" y="728663"/>
                  </a:cubicBezTo>
                  <a:close/>
                  <a:moveTo>
                    <a:pt x="112663" y="728663"/>
                  </a:moveTo>
                  <a:cubicBezTo>
                    <a:pt x="172368" y="728663"/>
                    <a:pt x="172368" y="728663"/>
                    <a:pt x="172368" y="728663"/>
                  </a:cubicBezTo>
                  <a:cubicBezTo>
                    <a:pt x="176684" y="728663"/>
                    <a:pt x="179561" y="732232"/>
                    <a:pt x="179561" y="735802"/>
                  </a:cubicBezTo>
                  <a:cubicBezTo>
                    <a:pt x="188913" y="1146975"/>
                    <a:pt x="188913" y="1146975"/>
                    <a:pt x="188913" y="1146975"/>
                  </a:cubicBezTo>
                  <a:cubicBezTo>
                    <a:pt x="188913" y="1150544"/>
                    <a:pt x="186035" y="1154113"/>
                    <a:pt x="181719" y="1154113"/>
                  </a:cubicBezTo>
                  <a:cubicBezTo>
                    <a:pt x="104031" y="1154113"/>
                    <a:pt x="104031" y="1154113"/>
                    <a:pt x="104031" y="1154113"/>
                  </a:cubicBezTo>
                  <a:cubicBezTo>
                    <a:pt x="99715" y="1154113"/>
                    <a:pt x="96838" y="1150544"/>
                    <a:pt x="96838" y="1146975"/>
                  </a:cubicBezTo>
                  <a:cubicBezTo>
                    <a:pt x="105470" y="735802"/>
                    <a:pt x="105470" y="735802"/>
                    <a:pt x="105470" y="735802"/>
                  </a:cubicBezTo>
                  <a:cubicBezTo>
                    <a:pt x="105470" y="732232"/>
                    <a:pt x="108347" y="728663"/>
                    <a:pt x="112663" y="728663"/>
                  </a:cubicBezTo>
                  <a:close/>
                  <a:moveTo>
                    <a:pt x="39688" y="593725"/>
                  </a:moveTo>
                  <a:cubicBezTo>
                    <a:pt x="39688" y="593725"/>
                    <a:pt x="39688" y="593725"/>
                    <a:pt x="39688" y="655638"/>
                  </a:cubicBezTo>
                  <a:cubicBezTo>
                    <a:pt x="39688" y="655638"/>
                    <a:pt x="39688" y="655638"/>
                    <a:pt x="1158876" y="655638"/>
                  </a:cubicBezTo>
                  <a:cubicBezTo>
                    <a:pt x="1158876" y="655638"/>
                    <a:pt x="1158876" y="655638"/>
                    <a:pt x="1158876" y="593725"/>
                  </a:cubicBezTo>
                  <a:cubicBezTo>
                    <a:pt x="1158876" y="593725"/>
                    <a:pt x="1158876" y="593725"/>
                    <a:pt x="39688" y="593725"/>
                  </a:cubicBezTo>
                  <a:close/>
                  <a:moveTo>
                    <a:pt x="599282" y="325438"/>
                  </a:moveTo>
                  <a:cubicBezTo>
                    <a:pt x="453549" y="325438"/>
                    <a:pt x="328533" y="421911"/>
                    <a:pt x="292100" y="561976"/>
                  </a:cubicBezTo>
                  <a:cubicBezTo>
                    <a:pt x="292100" y="561976"/>
                    <a:pt x="292100" y="561976"/>
                    <a:pt x="906463" y="561976"/>
                  </a:cubicBezTo>
                  <a:cubicBezTo>
                    <a:pt x="870030" y="424055"/>
                    <a:pt x="742871" y="325438"/>
                    <a:pt x="599282" y="325438"/>
                  </a:cubicBezTo>
                  <a:close/>
                  <a:moveTo>
                    <a:pt x="599282" y="293688"/>
                  </a:moveTo>
                  <a:cubicBezTo>
                    <a:pt x="679271" y="293688"/>
                    <a:pt x="757117" y="320829"/>
                    <a:pt x="819251" y="371539"/>
                  </a:cubicBezTo>
                  <a:cubicBezTo>
                    <a:pt x="878528" y="420107"/>
                    <a:pt x="920665" y="487245"/>
                    <a:pt x="938519" y="561525"/>
                  </a:cubicBezTo>
                  <a:cubicBezTo>
                    <a:pt x="938519" y="561525"/>
                    <a:pt x="938519" y="561525"/>
                    <a:pt x="1174914" y="561525"/>
                  </a:cubicBezTo>
                  <a:cubicBezTo>
                    <a:pt x="1183484" y="561525"/>
                    <a:pt x="1190626" y="568667"/>
                    <a:pt x="1190626" y="577238"/>
                  </a:cubicBezTo>
                  <a:cubicBezTo>
                    <a:pt x="1190626" y="577238"/>
                    <a:pt x="1190626" y="577238"/>
                    <a:pt x="1190626" y="670088"/>
                  </a:cubicBezTo>
                  <a:cubicBezTo>
                    <a:pt x="1190626" y="678659"/>
                    <a:pt x="1183484" y="685801"/>
                    <a:pt x="1174914" y="685801"/>
                  </a:cubicBezTo>
                  <a:cubicBezTo>
                    <a:pt x="1174914" y="685801"/>
                    <a:pt x="1174914" y="685801"/>
                    <a:pt x="23650" y="685801"/>
                  </a:cubicBezTo>
                  <a:cubicBezTo>
                    <a:pt x="15080" y="685801"/>
                    <a:pt x="7938" y="678659"/>
                    <a:pt x="7938" y="670088"/>
                  </a:cubicBezTo>
                  <a:cubicBezTo>
                    <a:pt x="7938" y="670088"/>
                    <a:pt x="7938" y="670088"/>
                    <a:pt x="7938" y="577238"/>
                  </a:cubicBezTo>
                  <a:cubicBezTo>
                    <a:pt x="7938" y="568667"/>
                    <a:pt x="15080" y="561525"/>
                    <a:pt x="23650" y="561525"/>
                  </a:cubicBezTo>
                  <a:cubicBezTo>
                    <a:pt x="23650" y="561525"/>
                    <a:pt x="23650" y="561525"/>
                    <a:pt x="260045" y="561525"/>
                  </a:cubicBezTo>
                  <a:cubicBezTo>
                    <a:pt x="277900" y="487245"/>
                    <a:pt x="320036" y="419393"/>
                    <a:pt x="380028" y="370825"/>
                  </a:cubicBezTo>
                  <a:cubicBezTo>
                    <a:pt x="442162" y="320829"/>
                    <a:pt x="520008" y="293688"/>
                    <a:pt x="599282" y="293688"/>
                  </a:cubicBezTo>
                  <a:close/>
                  <a:moveTo>
                    <a:pt x="583749" y="0"/>
                  </a:moveTo>
                  <a:cubicBezTo>
                    <a:pt x="583749" y="0"/>
                    <a:pt x="583749" y="0"/>
                    <a:pt x="611769" y="0"/>
                  </a:cubicBezTo>
                  <a:cubicBezTo>
                    <a:pt x="611769" y="0"/>
                    <a:pt x="611769" y="0"/>
                    <a:pt x="838804" y="0"/>
                  </a:cubicBezTo>
                  <a:cubicBezTo>
                    <a:pt x="843114" y="0"/>
                    <a:pt x="844551" y="4983"/>
                    <a:pt x="841677" y="7830"/>
                  </a:cubicBezTo>
                  <a:cubicBezTo>
                    <a:pt x="841677" y="7830"/>
                    <a:pt x="841677" y="7830"/>
                    <a:pt x="783482" y="65485"/>
                  </a:cubicBezTo>
                  <a:cubicBezTo>
                    <a:pt x="782045" y="67620"/>
                    <a:pt x="782045" y="70467"/>
                    <a:pt x="783482" y="71891"/>
                  </a:cubicBezTo>
                  <a:cubicBezTo>
                    <a:pt x="783482" y="71891"/>
                    <a:pt x="783482" y="71891"/>
                    <a:pt x="841677" y="129546"/>
                  </a:cubicBezTo>
                  <a:cubicBezTo>
                    <a:pt x="844551" y="132393"/>
                    <a:pt x="843114" y="137375"/>
                    <a:pt x="838804" y="137375"/>
                  </a:cubicBezTo>
                  <a:cubicBezTo>
                    <a:pt x="838804" y="137375"/>
                    <a:pt x="838804" y="137375"/>
                    <a:pt x="621109" y="137375"/>
                  </a:cubicBezTo>
                  <a:cubicBezTo>
                    <a:pt x="618954" y="137375"/>
                    <a:pt x="616798" y="139511"/>
                    <a:pt x="616798" y="142358"/>
                  </a:cubicBezTo>
                  <a:cubicBezTo>
                    <a:pt x="616798" y="142358"/>
                    <a:pt x="616798" y="142358"/>
                    <a:pt x="616798" y="261938"/>
                  </a:cubicBezTo>
                  <a:cubicBezTo>
                    <a:pt x="610332" y="261938"/>
                    <a:pt x="604584" y="261938"/>
                    <a:pt x="598837" y="261938"/>
                  </a:cubicBezTo>
                  <a:cubicBezTo>
                    <a:pt x="592371" y="261938"/>
                    <a:pt x="585904" y="261938"/>
                    <a:pt x="579438" y="261938"/>
                  </a:cubicBezTo>
                  <a:cubicBezTo>
                    <a:pt x="579438" y="261938"/>
                    <a:pt x="579438" y="261938"/>
                    <a:pt x="579438" y="137375"/>
                  </a:cubicBezTo>
                  <a:cubicBezTo>
                    <a:pt x="579438" y="137375"/>
                    <a:pt x="579438" y="137375"/>
                    <a:pt x="579438" y="4983"/>
                  </a:cubicBezTo>
                  <a:cubicBezTo>
                    <a:pt x="579438" y="2135"/>
                    <a:pt x="581594" y="0"/>
                    <a:pt x="5837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nvGrpSpPr>
          <p:cNvPr id="90" name="Group 89">
            <a:extLst>
              <a:ext uri="{FF2B5EF4-FFF2-40B4-BE49-F238E27FC236}">
                <a16:creationId xmlns:a16="http://schemas.microsoft.com/office/drawing/2014/main" id="{413D21F0-4324-4820-A360-39E749D4D99D}"/>
              </a:ext>
            </a:extLst>
          </p:cNvPr>
          <p:cNvGrpSpPr>
            <a:grpSpLocks noChangeAspect="1"/>
          </p:cNvGrpSpPr>
          <p:nvPr/>
        </p:nvGrpSpPr>
        <p:grpSpPr>
          <a:xfrm>
            <a:off x="5478352" y="2523598"/>
            <a:ext cx="1235413" cy="1236605"/>
            <a:chOff x="5273675" y="2605882"/>
            <a:chExt cx="1644650" cy="1646237"/>
          </a:xfrm>
        </p:grpSpPr>
        <p:sp>
          <p:nvSpPr>
            <p:cNvPr id="91" name="AutoShape 3">
              <a:extLst>
                <a:ext uri="{FF2B5EF4-FFF2-40B4-BE49-F238E27FC236}">
                  <a16:creationId xmlns:a16="http://schemas.microsoft.com/office/drawing/2014/main" id="{21AF31E3-2232-4F96-B7ED-2C68CABDAE2F}"/>
                </a:ext>
              </a:extLst>
            </p:cNvPr>
            <p:cNvSpPr>
              <a:spLocks noChangeAspect="1" noChangeArrowheads="1" noTextEdit="1"/>
            </p:cNvSpPr>
            <p:nvPr/>
          </p:nvSpPr>
          <p:spPr bwMode="auto">
            <a:xfrm>
              <a:off x="5273675" y="2605882"/>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96" name="Freeform 9">
              <a:extLst>
                <a:ext uri="{FF2B5EF4-FFF2-40B4-BE49-F238E27FC236}">
                  <a16:creationId xmlns:a16="http://schemas.microsoft.com/office/drawing/2014/main" id="{BD262CCC-9614-4B57-8E08-4EC263990AB9}"/>
                </a:ext>
              </a:extLst>
            </p:cNvPr>
            <p:cNvSpPr>
              <a:spLocks/>
            </p:cNvSpPr>
            <p:nvPr/>
          </p:nvSpPr>
          <p:spPr bwMode="auto">
            <a:xfrm>
              <a:off x="5497179" y="2776538"/>
              <a:ext cx="1197643" cy="1304925"/>
            </a:xfrm>
            <a:custGeom>
              <a:avLst/>
              <a:gdLst>
                <a:gd name="connsiteX0" fmla="*/ 1077708 w 1197643"/>
                <a:gd name="connsiteY0" fmla="*/ 315913 h 1304925"/>
                <a:gd name="connsiteX1" fmla="*/ 1066261 w 1197643"/>
                <a:gd name="connsiteY1" fmla="*/ 318056 h 1304925"/>
                <a:gd name="connsiteX2" fmla="*/ 1044083 w 1197643"/>
                <a:gd name="connsiteY2" fmla="*/ 337344 h 1304925"/>
                <a:gd name="connsiteX3" fmla="*/ 1041936 w 1197643"/>
                <a:gd name="connsiteY3" fmla="*/ 366634 h 1304925"/>
                <a:gd name="connsiteX4" fmla="*/ 1065545 w 1197643"/>
                <a:gd name="connsiteY4" fmla="*/ 434499 h 1304925"/>
                <a:gd name="connsiteX5" fmla="*/ 1074130 w 1197643"/>
                <a:gd name="connsiteY5" fmla="*/ 617379 h 1304925"/>
                <a:gd name="connsiteX6" fmla="*/ 1071984 w 1197643"/>
                <a:gd name="connsiteY6" fmla="*/ 623809 h 1304925"/>
                <a:gd name="connsiteX7" fmla="*/ 966816 w 1197643"/>
                <a:gd name="connsiteY7" fmla="*/ 788829 h 1304925"/>
                <a:gd name="connsiteX8" fmla="*/ 946069 w 1197643"/>
                <a:gd name="connsiteY8" fmla="*/ 805260 h 1304925"/>
                <a:gd name="connsiteX9" fmla="*/ 920314 w 1197643"/>
                <a:gd name="connsiteY9" fmla="*/ 814547 h 1304925"/>
                <a:gd name="connsiteX10" fmla="*/ 885258 w 1197643"/>
                <a:gd name="connsiteY10" fmla="*/ 795973 h 1304925"/>
                <a:gd name="connsiteX11" fmla="*/ 882396 w 1197643"/>
                <a:gd name="connsiteY11" fmla="*/ 756682 h 1304925"/>
                <a:gd name="connsiteX12" fmla="*/ 931045 w 1197643"/>
                <a:gd name="connsiteY12" fmla="*/ 646669 h 1304925"/>
                <a:gd name="connsiteX13" fmla="*/ 917452 w 1197643"/>
                <a:gd name="connsiteY13" fmla="*/ 605235 h 1304925"/>
                <a:gd name="connsiteX14" fmla="*/ 901713 w 1197643"/>
                <a:gd name="connsiteY14" fmla="*/ 600949 h 1304925"/>
                <a:gd name="connsiteX15" fmla="*/ 873811 w 1197643"/>
                <a:gd name="connsiteY15" fmla="*/ 616665 h 1304925"/>
                <a:gd name="connsiteX16" fmla="*/ 710693 w 1197643"/>
                <a:gd name="connsiteY16" fmla="*/ 875268 h 1304925"/>
                <a:gd name="connsiteX17" fmla="*/ 688515 w 1197643"/>
                <a:gd name="connsiteY17" fmla="*/ 950278 h 1304925"/>
                <a:gd name="connsiteX18" fmla="*/ 689946 w 1197643"/>
                <a:gd name="connsiteY18" fmla="*/ 1273175 h 1304925"/>
                <a:gd name="connsiteX19" fmla="*/ 956800 w 1197643"/>
                <a:gd name="connsiteY19" fmla="*/ 1273175 h 1304925"/>
                <a:gd name="connsiteX20" fmla="*/ 956800 w 1197643"/>
                <a:gd name="connsiteY20" fmla="*/ 1096010 h 1304925"/>
                <a:gd name="connsiteX21" fmla="*/ 956800 w 1197643"/>
                <a:gd name="connsiteY21" fmla="*/ 1091724 h 1304925"/>
                <a:gd name="connsiteX22" fmla="*/ 993287 w 1197643"/>
                <a:gd name="connsiteY22" fmla="*/ 995998 h 1304925"/>
                <a:gd name="connsiteX23" fmla="*/ 1059822 w 1197643"/>
                <a:gd name="connsiteY23" fmla="*/ 896700 h 1304925"/>
                <a:gd name="connsiteX24" fmla="*/ 1153543 w 1197643"/>
                <a:gd name="connsiteY24" fmla="*/ 672386 h 1304925"/>
                <a:gd name="connsiteX25" fmla="*/ 1156405 w 1197643"/>
                <a:gd name="connsiteY25" fmla="*/ 659527 h 1304925"/>
                <a:gd name="connsiteX26" fmla="*/ 1138519 w 1197643"/>
                <a:gd name="connsiteY26" fmla="*/ 408067 h 1304925"/>
                <a:gd name="connsiteX27" fmla="*/ 1113479 w 1197643"/>
                <a:gd name="connsiteY27" fmla="*/ 340916 h 1304925"/>
                <a:gd name="connsiteX28" fmla="*/ 1077708 w 1197643"/>
                <a:gd name="connsiteY28" fmla="*/ 315913 h 1304925"/>
                <a:gd name="connsiteX29" fmla="*/ 118348 w 1197643"/>
                <a:gd name="connsiteY29" fmla="*/ 315913 h 1304925"/>
                <a:gd name="connsiteX30" fmla="*/ 82577 w 1197643"/>
                <a:gd name="connsiteY30" fmla="*/ 340916 h 1304925"/>
                <a:gd name="connsiteX31" fmla="*/ 57537 w 1197643"/>
                <a:gd name="connsiteY31" fmla="*/ 408067 h 1304925"/>
                <a:gd name="connsiteX32" fmla="*/ 39651 w 1197643"/>
                <a:gd name="connsiteY32" fmla="*/ 659527 h 1304925"/>
                <a:gd name="connsiteX33" fmla="*/ 42513 w 1197643"/>
                <a:gd name="connsiteY33" fmla="*/ 672386 h 1304925"/>
                <a:gd name="connsiteX34" fmla="*/ 136234 w 1197643"/>
                <a:gd name="connsiteY34" fmla="*/ 896700 h 1304925"/>
                <a:gd name="connsiteX35" fmla="*/ 202768 w 1197643"/>
                <a:gd name="connsiteY35" fmla="*/ 995998 h 1304925"/>
                <a:gd name="connsiteX36" fmla="*/ 239255 w 1197643"/>
                <a:gd name="connsiteY36" fmla="*/ 1091724 h 1304925"/>
                <a:gd name="connsiteX37" fmla="*/ 239255 w 1197643"/>
                <a:gd name="connsiteY37" fmla="*/ 1096010 h 1304925"/>
                <a:gd name="connsiteX38" fmla="*/ 239255 w 1197643"/>
                <a:gd name="connsiteY38" fmla="*/ 1273175 h 1304925"/>
                <a:gd name="connsiteX39" fmla="*/ 506109 w 1197643"/>
                <a:gd name="connsiteY39" fmla="*/ 1273175 h 1304925"/>
                <a:gd name="connsiteX40" fmla="*/ 507540 w 1197643"/>
                <a:gd name="connsiteY40" fmla="*/ 950278 h 1304925"/>
                <a:gd name="connsiteX41" fmla="*/ 485362 w 1197643"/>
                <a:gd name="connsiteY41" fmla="*/ 875268 h 1304925"/>
                <a:gd name="connsiteX42" fmla="*/ 322245 w 1197643"/>
                <a:gd name="connsiteY42" fmla="*/ 616665 h 1304925"/>
                <a:gd name="connsiteX43" fmla="*/ 294343 w 1197643"/>
                <a:gd name="connsiteY43" fmla="*/ 600949 h 1304925"/>
                <a:gd name="connsiteX44" fmla="*/ 278604 w 1197643"/>
                <a:gd name="connsiteY44" fmla="*/ 605235 h 1304925"/>
                <a:gd name="connsiteX45" fmla="*/ 265010 w 1197643"/>
                <a:gd name="connsiteY45" fmla="*/ 646669 h 1304925"/>
                <a:gd name="connsiteX46" fmla="*/ 313659 w 1197643"/>
                <a:gd name="connsiteY46" fmla="*/ 756682 h 1304925"/>
                <a:gd name="connsiteX47" fmla="*/ 310798 w 1197643"/>
                <a:gd name="connsiteY47" fmla="*/ 795973 h 1304925"/>
                <a:gd name="connsiteX48" fmla="*/ 275742 w 1197643"/>
                <a:gd name="connsiteY48" fmla="*/ 814547 h 1304925"/>
                <a:gd name="connsiteX49" fmla="*/ 249986 w 1197643"/>
                <a:gd name="connsiteY49" fmla="*/ 805260 h 1304925"/>
                <a:gd name="connsiteX50" fmla="*/ 229239 w 1197643"/>
                <a:gd name="connsiteY50" fmla="*/ 788829 h 1304925"/>
                <a:gd name="connsiteX51" fmla="*/ 124071 w 1197643"/>
                <a:gd name="connsiteY51" fmla="*/ 623809 h 1304925"/>
                <a:gd name="connsiteX52" fmla="*/ 121925 w 1197643"/>
                <a:gd name="connsiteY52" fmla="*/ 617379 h 1304925"/>
                <a:gd name="connsiteX53" fmla="*/ 130510 w 1197643"/>
                <a:gd name="connsiteY53" fmla="*/ 434499 h 1304925"/>
                <a:gd name="connsiteX54" fmla="*/ 154119 w 1197643"/>
                <a:gd name="connsiteY54" fmla="*/ 366634 h 1304925"/>
                <a:gd name="connsiteX55" fmla="*/ 151973 w 1197643"/>
                <a:gd name="connsiteY55" fmla="*/ 337344 h 1304925"/>
                <a:gd name="connsiteX56" fmla="*/ 129795 w 1197643"/>
                <a:gd name="connsiteY56" fmla="*/ 318056 h 1304925"/>
                <a:gd name="connsiteX57" fmla="*/ 118348 w 1197643"/>
                <a:gd name="connsiteY57" fmla="*/ 315913 h 1304925"/>
                <a:gd name="connsiteX58" fmla="*/ 1078223 w 1197643"/>
                <a:gd name="connsiteY58" fmla="*/ 284163 h 1304925"/>
                <a:gd name="connsiteX59" fmla="*/ 1143202 w 1197643"/>
                <a:gd name="connsiteY59" fmla="*/ 329912 h 1304925"/>
                <a:gd name="connsiteX60" fmla="*/ 1168195 w 1197643"/>
                <a:gd name="connsiteY60" fmla="*/ 396390 h 1304925"/>
                <a:gd name="connsiteX61" fmla="*/ 1186760 w 1197643"/>
                <a:gd name="connsiteY61" fmla="*/ 665877 h 1304925"/>
                <a:gd name="connsiteX62" fmla="*/ 1183904 w 1197643"/>
                <a:gd name="connsiteY62" fmla="*/ 679458 h 1304925"/>
                <a:gd name="connsiteX63" fmla="*/ 1086077 w 1197643"/>
                <a:gd name="connsiteY63" fmla="*/ 913919 h 1304925"/>
                <a:gd name="connsiteX64" fmla="*/ 1020383 w 1197643"/>
                <a:gd name="connsiteY64" fmla="*/ 1013279 h 1304925"/>
                <a:gd name="connsiteX65" fmla="*/ 988964 w 1197643"/>
                <a:gd name="connsiteY65" fmla="*/ 1096198 h 1304925"/>
                <a:gd name="connsiteX66" fmla="*/ 989678 w 1197643"/>
                <a:gd name="connsiteY66" fmla="*/ 1289199 h 1304925"/>
                <a:gd name="connsiteX67" fmla="*/ 973969 w 1197643"/>
                <a:gd name="connsiteY67" fmla="*/ 1304925 h 1304925"/>
                <a:gd name="connsiteX68" fmla="*/ 667635 w 1197643"/>
                <a:gd name="connsiteY68" fmla="*/ 1304925 h 1304925"/>
                <a:gd name="connsiteX69" fmla="*/ 659780 w 1197643"/>
                <a:gd name="connsiteY69" fmla="*/ 1291344 h 1304925"/>
                <a:gd name="connsiteX70" fmla="*/ 658352 w 1197643"/>
                <a:gd name="connsiteY70" fmla="*/ 950375 h 1304925"/>
                <a:gd name="connsiteX71" fmla="*/ 684773 w 1197643"/>
                <a:gd name="connsiteY71" fmla="*/ 858163 h 1304925"/>
                <a:gd name="connsiteX72" fmla="*/ 849008 w 1197643"/>
                <a:gd name="connsiteY72" fmla="*/ 599398 h 1304925"/>
                <a:gd name="connsiteX73" fmla="*/ 902563 w 1197643"/>
                <a:gd name="connsiteY73" fmla="*/ 569376 h 1304925"/>
                <a:gd name="connsiteX74" fmla="*/ 933267 w 1197643"/>
                <a:gd name="connsiteY74" fmla="*/ 577954 h 1304925"/>
                <a:gd name="connsiteX75" fmla="*/ 960402 w 1197643"/>
                <a:gd name="connsiteY75" fmla="*/ 659443 h 1304925"/>
                <a:gd name="connsiteX76" fmla="*/ 911845 w 1197643"/>
                <a:gd name="connsiteY76" fmla="*/ 769525 h 1304925"/>
                <a:gd name="connsiteX77" fmla="*/ 921128 w 1197643"/>
                <a:gd name="connsiteY77" fmla="*/ 783107 h 1304925"/>
                <a:gd name="connsiteX78" fmla="*/ 926841 w 1197643"/>
                <a:gd name="connsiteY78" fmla="*/ 780963 h 1304925"/>
                <a:gd name="connsiteX79" fmla="*/ 948263 w 1197643"/>
                <a:gd name="connsiteY79" fmla="*/ 763807 h 1304925"/>
                <a:gd name="connsiteX80" fmla="*/ 1042519 w 1197643"/>
                <a:gd name="connsiteY80" fmla="*/ 616554 h 1304925"/>
                <a:gd name="connsiteX81" fmla="*/ 1043947 w 1197643"/>
                <a:gd name="connsiteY81" fmla="*/ 609406 h 1304925"/>
                <a:gd name="connsiteX82" fmla="*/ 1036093 w 1197643"/>
                <a:gd name="connsiteY82" fmla="*/ 444997 h 1304925"/>
                <a:gd name="connsiteX83" fmla="*/ 1013243 w 1197643"/>
                <a:gd name="connsiteY83" fmla="*/ 376375 h 1304925"/>
                <a:gd name="connsiteX84" fmla="*/ 1056801 w 1197643"/>
                <a:gd name="connsiteY84" fmla="*/ 287737 h 1304925"/>
                <a:gd name="connsiteX85" fmla="*/ 1078223 w 1197643"/>
                <a:gd name="connsiteY85" fmla="*/ 284163 h 1304925"/>
                <a:gd name="connsiteX86" fmla="*/ 119420 w 1197643"/>
                <a:gd name="connsiteY86" fmla="*/ 284163 h 1304925"/>
                <a:gd name="connsiteX87" fmla="*/ 140842 w 1197643"/>
                <a:gd name="connsiteY87" fmla="*/ 287737 h 1304925"/>
                <a:gd name="connsiteX88" fmla="*/ 184400 w 1197643"/>
                <a:gd name="connsiteY88" fmla="*/ 376375 h 1304925"/>
                <a:gd name="connsiteX89" fmla="*/ 161550 w 1197643"/>
                <a:gd name="connsiteY89" fmla="*/ 444997 h 1304925"/>
                <a:gd name="connsiteX90" fmla="*/ 153695 w 1197643"/>
                <a:gd name="connsiteY90" fmla="*/ 609406 h 1304925"/>
                <a:gd name="connsiteX91" fmla="*/ 155123 w 1197643"/>
                <a:gd name="connsiteY91" fmla="*/ 616554 h 1304925"/>
                <a:gd name="connsiteX92" fmla="*/ 249380 w 1197643"/>
                <a:gd name="connsiteY92" fmla="*/ 763807 h 1304925"/>
                <a:gd name="connsiteX93" fmla="*/ 270802 w 1197643"/>
                <a:gd name="connsiteY93" fmla="*/ 780963 h 1304925"/>
                <a:gd name="connsiteX94" fmla="*/ 276514 w 1197643"/>
                <a:gd name="connsiteY94" fmla="*/ 783107 h 1304925"/>
                <a:gd name="connsiteX95" fmla="*/ 285797 w 1197643"/>
                <a:gd name="connsiteY95" fmla="*/ 769525 h 1304925"/>
                <a:gd name="connsiteX96" fmla="*/ 237241 w 1197643"/>
                <a:gd name="connsiteY96" fmla="*/ 659443 h 1304925"/>
                <a:gd name="connsiteX97" fmla="*/ 264375 w 1197643"/>
                <a:gd name="connsiteY97" fmla="*/ 577954 h 1304925"/>
                <a:gd name="connsiteX98" fmla="*/ 295080 w 1197643"/>
                <a:gd name="connsiteY98" fmla="*/ 569376 h 1304925"/>
                <a:gd name="connsiteX99" fmla="*/ 348635 w 1197643"/>
                <a:gd name="connsiteY99" fmla="*/ 599398 h 1304925"/>
                <a:gd name="connsiteX100" fmla="*/ 512870 w 1197643"/>
                <a:gd name="connsiteY100" fmla="*/ 858163 h 1304925"/>
                <a:gd name="connsiteX101" fmla="*/ 539290 w 1197643"/>
                <a:gd name="connsiteY101" fmla="*/ 950375 h 1304925"/>
                <a:gd name="connsiteX102" fmla="*/ 537862 w 1197643"/>
                <a:gd name="connsiteY102" fmla="*/ 1291344 h 1304925"/>
                <a:gd name="connsiteX103" fmla="*/ 530007 w 1197643"/>
                <a:gd name="connsiteY103" fmla="*/ 1304925 h 1304925"/>
                <a:gd name="connsiteX104" fmla="*/ 224387 w 1197643"/>
                <a:gd name="connsiteY104" fmla="*/ 1304925 h 1304925"/>
                <a:gd name="connsiteX105" fmla="*/ 223673 w 1197643"/>
                <a:gd name="connsiteY105" fmla="*/ 1304925 h 1304925"/>
                <a:gd name="connsiteX106" fmla="*/ 207964 w 1197643"/>
                <a:gd name="connsiteY106" fmla="*/ 1289199 h 1304925"/>
                <a:gd name="connsiteX107" fmla="*/ 208678 w 1197643"/>
                <a:gd name="connsiteY107" fmla="*/ 1096198 h 1304925"/>
                <a:gd name="connsiteX108" fmla="*/ 177259 w 1197643"/>
                <a:gd name="connsiteY108" fmla="*/ 1013279 h 1304925"/>
                <a:gd name="connsiteX109" fmla="*/ 111565 w 1197643"/>
                <a:gd name="connsiteY109" fmla="*/ 913919 h 1304925"/>
                <a:gd name="connsiteX110" fmla="*/ 13738 w 1197643"/>
                <a:gd name="connsiteY110" fmla="*/ 679458 h 1304925"/>
                <a:gd name="connsiteX111" fmla="*/ 10882 w 1197643"/>
                <a:gd name="connsiteY111" fmla="*/ 665877 h 1304925"/>
                <a:gd name="connsiteX112" fmla="*/ 29448 w 1197643"/>
                <a:gd name="connsiteY112" fmla="*/ 396390 h 1304925"/>
                <a:gd name="connsiteX113" fmla="*/ 54440 w 1197643"/>
                <a:gd name="connsiteY113" fmla="*/ 329912 h 1304925"/>
                <a:gd name="connsiteX114" fmla="*/ 119420 w 1197643"/>
                <a:gd name="connsiteY114" fmla="*/ 284163 h 1304925"/>
                <a:gd name="connsiteX115" fmla="*/ 586062 w 1197643"/>
                <a:gd name="connsiteY115" fmla="*/ 84138 h 1304925"/>
                <a:gd name="connsiteX116" fmla="*/ 611739 w 1197643"/>
                <a:gd name="connsiteY116" fmla="*/ 84138 h 1304925"/>
                <a:gd name="connsiteX117" fmla="*/ 611739 w 1197643"/>
                <a:gd name="connsiteY117" fmla="*/ 102626 h 1304925"/>
                <a:gd name="connsiteX118" fmla="*/ 641694 w 1197643"/>
                <a:gd name="connsiteY118" fmla="*/ 112581 h 1304925"/>
                <a:gd name="connsiteX119" fmla="*/ 633849 w 1197643"/>
                <a:gd name="connsiteY119" fmla="*/ 136046 h 1304925"/>
                <a:gd name="connsiteX120" fmla="*/ 600327 w 1197643"/>
                <a:gd name="connsiteY120" fmla="*/ 125380 h 1304925"/>
                <a:gd name="connsiteX121" fmla="*/ 585349 w 1197643"/>
                <a:gd name="connsiteY121" fmla="*/ 130357 h 1304925"/>
                <a:gd name="connsiteX122" fmla="*/ 579643 w 1197643"/>
                <a:gd name="connsiteY122" fmla="*/ 144579 h 1304925"/>
                <a:gd name="connsiteX123" fmla="*/ 611025 w 1197643"/>
                <a:gd name="connsiteY123" fmla="*/ 172310 h 1304925"/>
                <a:gd name="connsiteX124" fmla="*/ 635275 w 1197643"/>
                <a:gd name="connsiteY124" fmla="*/ 187954 h 1304925"/>
                <a:gd name="connsiteX125" fmla="*/ 645260 w 1197643"/>
                <a:gd name="connsiteY125" fmla="*/ 202886 h 1304925"/>
                <a:gd name="connsiteX126" fmla="*/ 648826 w 1197643"/>
                <a:gd name="connsiteY126" fmla="*/ 222085 h 1304925"/>
                <a:gd name="connsiteX127" fmla="*/ 638841 w 1197643"/>
                <a:gd name="connsiteY127" fmla="*/ 249105 h 1304925"/>
                <a:gd name="connsiteX128" fmla="*/ 611739 w 1197643"/>
                <a:gd name="connsiteY128" fmla="*/ 264749 h 1304925"/>
                <a:gd name="connsiteX129" fmla="*/ 611739 w 1197643"/>
                <a:gd name="connsiteY129" fmla="*/ 288925 h 1304925"/>
                <a:gd name="connsiteX130" fmla="*/ 586062 w 1197643"/>
                <a:gd name="connsiteY130" fmla="*/ 288925 h 1304925"/>
                <a:gd name="connsiteX131" fmla="*/ 586062 w 1197643"/>
                <a:gd name="connsiteY131" fmla="*/ 266171 h 1304925"/>
                <a:gd name="connsiteX132" fmla="*/ 550401 w 1197643"/>
                <a:gd name="connsiteY132" fmla="*/ 254794 h 1304925"/>
                <a:gd name="connsiteX133" fmla="*/ 561813 w 1197643"/>
                <a:gd name="connsiteY133" fmla="*/ 229907 h 1304925"/>
                <a:gd name="connsiteX134" fmla="*/ 594621 w 1197643"/>
                <a:gd name="connsiteY134" fmla="*/ 241284 h 1304925"/>
                <a:gd name="connsiteX135" fmla="*/ 620297 w 1197643"/>
                <a:gd name="connsiteY135" fmla="*/ 224218 h 1304925"/>
                <a:gd name="connsiteX136" fmla="*/ 613878 w 1197643"/>
                <a:gd name="connsiteY136" fmla="*/ 208575 h 1304925"/>
                <a:gd name="connsiteX137" fmla="*/ 588915 w 1197643"/>
                <a:gd name="connsiteY137" fmla="*/ 191509 h 1304925"/>
                <a:gd name="connsiteX138" fmla="*/ 564666 w 1197643"/>
                <a:gd name="connsiteY138" fmla="*/ 177288 h 1304925"/>
                <a:gd name="connsiteX139" fmla="*/ 553967 w 1197643"/>
                <a:gd name="connsiteY139" fmla="*/ 162355 h 1304925"/>
                <a:gd name="connsiteX140" fmla="*/ 551114 w 1197643"/>
                <a:gd name="connsiteY140" fmla="*/ 144579 h 1304925"/>
                <a:gd name="connsiteX141" fmla="*/ 561100 w 1197643"/>
                <a:gd name="connsiteY141" fmla="*/ 118980 h 1304925"/>
                <a:gd name="connsiteX142" fmla="*/ 586062 w 1197643"/>
                <a:gd name="connsiteY142" fmla="*/ 104048 h 1304925"/>
                <a:gd name="connsiteX143" fmla="*/ 586062 w 1197643"/>
                <a:gd name="connsiteY143" fmla="*/ 84138 h 1304925"/>
                <a:gd name="connsiteX144" fmla="*/ 650414 w 1197643"/>
                <a:gd name="connsiteY144" fmla="*/ 63500 h 1304925"/>
                <a:gd name="connsiteX145" fmla="*/ 877654 w 1197643"/>
                <a:gd name="connsiteY145" fmla="*/ 63500 h 1304925"/>
                <a:gd name="connsiteX146" fmla="*/ 877654 w 1197643"/>
                <a:gd name="connsiteY146" fmla="*/ 64218 h 1304925"/>
                <a:gd name="connsiteX147" fmla="*/ 876225 w 1197643"/>
                <a:gd name="connsiteY147" fmla="*/ 73543 h 1304925"/>
                <a:gd name="connsiteX148" fmla="*/ 904808 w 1197643"/>
                <a:gd name="connsiteY148" fmla="*/ 102956 h 1304925"/>
                <a:gd name="connsiteX149" fmla="*/ 914098 w 1197643"/>
                <a:gd name="connsiteY149" fmla="*/ 100804 h 1304925"/>
                <a:gd name="connsiteX150" fmla="*/ 915527 w 1197643"/>
                <a:gd name="connsiteY150" fmla="*/ 101521 h 1304925"/>
                <a:gd name="connsiteX151" fmla="*/ 915527 w 1197643"/>
                <a:gd name="connsiteY151" fmla="*/ 272976 h 1304925"/>
                <a:gd name="connsiteX152" fmla="*/ 914098 w 1197643"/>
                <a:gd name="connsiteY152" fmla="*/ 274410 h 1304925"/>
                <a:gd name="connsiteX153" fmla="*/ 904808 w 1197643"/>
                <a:gd name="connsiteY153" fmla="*/ 272258 h 1304925"/>
                <a:gd name="connsiteX154" fmla="*/ 876225 w 1197643"/>
                <a:gd name="connsiteY154" fmla="*/ 300954 h 1304925"/>
                <a:gd name="connsiteX155" fmla="*/ 876939 w 1197643"/>
                <a:gd name="connsiteY155" fmla="*/ 308845 h 1304925"/>
                <a:gd name="connsiteX156" fmla="*/ 876939 w 1197643"/>
                <a:gd name="connsiteY156" fmla="*/ 309562 h 1304925"/>
                <a:gd name="connsiteX157" fmla="*/ 650414 w 1197643"/>
                <a:gd name="connsiteY157" fmla="*/ 309562 h 1304925"/>
                <a:gd name="connsiteX158" fmla="*/ 651129 w 1197643"/>
                <a:gd name="connsiteY158" fmla="*/ 308127 h 1304925"/>
                <a:gd name="connsiteX159" fmla="*/ 708296 w 1197643"/>
                <a:gd name="connsiteY159" fmla="*/ 186890 h 1304925"/>
                <a:gd name="connsiteX160" fmla="*/ 651129 w 1197643"/>
                <a:gd name="connsiteY160" fmla="*/ 64935 h 1304925"/>
                <a:gd name="connsiteX161" fmla="*/ 650414 w 1197643"/>
                <a:gd name="connsiteY161" fmla="*/ 63500 h 1304925"/>
                <a:gd name="connsiteX162" fmla="*/ 320725 w 1197643"/>
                <a:gd name="connsiteY162" fmla="*/ 63500 h 1304925"/>
                <a:gd name="connsiteX163" fmla="*/ 548099 w 1197643"/>
                <a:gd name="connsiteY163" fmla="*/ 63500 h 1304925"/>
                <a:gd name="connsiteX164" fmla="*/ 547384 w 1197643"/>
                <a:gd name="connsiteY164" fmla="*/ 64935 h 1304925"/>
                <a:gd name="connsiteX165" fmla="*/ 490183 w 1197643"/>
                <a:gd name="connsiteY165" fmla="*/ 186890 h 1304925"/>
                <a:gd name="connsiteX166" fmla="*/ 547384 w 1197643"/>
                <a:gd name="connsiteY166" fmla="*/ 308127 h 1304925"/>
                <a:gd name="connsiteX167" fmla="*/ 548099 w 1197643"/>
                <a:gd name="connsiteY167" fmla="*/ 309562 h 1304925"/>
                <a:gd name="connsiteX168" fmla="*/ 320725 w 1197643"/>
                <a:gd name="connsiteY168" fmla="*/ 309562 h 1304925"/>
                <a:gd name="connsiteX169" fmla="*/ 320725 w 1197643"/>
                <a:gd name="connsiteY169" fmla="*/ 308845 h 1304925"/>
                <a:gd name="connsiteX170" fmla="*/ 322155 w 1197643"/>
                <a:gd name="connsiteY170" fmla="*/ 300954 h 1304925"/>
                <a:gd name="connsiteX171" fmla="*/ 292839 w 1197643"/>
                <a:gd name="connsiteY171" fmla="*/ 272258 h 1304925"/>
                <a:gd name="connsiteX172" fmla="*/ 284259 w 1197643"/>
                <a:gd name="connsiteY172" fmla="*/ 273693 h 1304925"/>
                <a:gd name="connsiteX173" fmla="*/ 282114 w 1197643"/>
                <a:gd name="connsiteY173" fmla="*/ 272976 h 1304925"/>
                <a:gd name="connsiteX174" fmla="*/ 282114 w 1197643"/>
                <a:gd name="connsiteY174" fmla="*/ 102239 h 1304925"/>
                <a:gd name="connsiteX175" fmla="*/ 284259 w 1197643"/>
                <a:gd name="connsiteY175" fmla="*/ 100804 h 1304925"/>
                <a:gd name="connsiteX176" fmla="*/ 292839 w 1197643"/>
                <a:gd name="connsiteY176" fmla="*/ 102956 h 1304925"/>
                <a:gd name="connsiteX177" fmla="*/ 322155 w 1197643"/>
                <a:gd name="connsiteY177" fmla="*/ 73543 h 1304925"/>
                <a:gd name="connsiteX178" fmla="*/ 320725 w 1197643"/>
                <a:gd name="connsiteY178" fmla="*/ 64218 h 1304925"/>
                <a:gd name="connsiteX179" fmla="*/ 320725 w 1197643"/>
                <a:gd name="connsiteY179" fmla="*/ 63500 h 1304925"/>
                <a:gd name="connsiteX180" fmla="*/ 248776 w 1197643"/>
                <a:gd name="connsiteY180" fmla="*/ 31750 h 1304925"/>
                <a:gd name="connsiteX181" fmla="*/ 248776 w 1197643"/>
                <a:gd name="connsiteY181" fmla="*/ 341312 h 1304925"/>
                <a:gd name="connsiteX182" fmla="*/ 947276 w 1197643"/>
                <a:gd name="connsiteY182" fmla="*/ 341312 h 1304925"/>
                <a:gd name="connsiteX183" fmla="*/ 947276 w 1197643"/>
                <a:gd name="connsiteY183" fmla="*/ 31750 h 1304925"/>
                <a:gd name="connsiteX184" fmla="*/ 248776 w 1197643"/>
                <a:gd name="connsiteY184" fmla="*/ 31750 h 1304925"/>
                <a:gd name="connsiteX185" fmla="*/ 226319 w 1197643"/>
                <a:gd name="connsiteY185" fmla="*/ 0 h 1304925"/>
                <a:gd name="connsiteX186" fmla="*/ 969734 w 1197643"/>
                <a:gd name="connsiteY186" fmla="*/ 0 h 1304925"/>
                <a:gd name="connsiteX187" fmla="*/ 979026 w 1197643"/>
                <a:gd name="connsiteY187" fmla="*/ 8576 h 1304925"/>
                <a:gd name="connsiteX188" fmla="*/ 979026 w 1197643"/>
                <a:gd name="connsiteY188" fmla="*/ 363771 h 1304925"/>
                <a:gd name="connsiteX189" fmla="*/ 969734 w 1197643"/>
                <a:gd name="connsiteY189" fmla="*/ 373062 h 1304925"/>
                <a:gd name="connsiteX190" fmla="*/ 226319 w 1197643"/>
                <a:gd name="connsiteY190" fmla="*/ 373062 h 1304925"/>
                <a:gd name="connsiteX191" fmla="*/ 217026 w 1197643"/>
                <a:gd name="connsiteY191" fmla="*/ 363771 h 1304925"/>
                <a:gd name="connsiteX192" fmla="*/ 217026 w 1197643"/>
                <a:gd name="connsiteY192" fmla="*/ 8576 h 1304925"/>
                <a:gd name="connsiteX193" fmla="*/ 226319 w 1197643"/>
                <a:gd name="connsiteY193"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1197643" h="1304925">
                  <a:moveTo>
                    <a:pt x="1077708" y="315913"/>
                  </a:moveTo>
                  <a:cubicBezTo>
                    <a:pt x="1074130" y="315913"/>
                    <a:pt x="1069838" y="316627"/>
                    <a:pt x="1066261" y="318056"/>
                  </a:cubicBezTo>
                  <a:cubicBezTo>
                    <a:pt x="1056245" y="321628"/>
                    <a:pt x="1048375" y="328057"/>
                    <a:pt x="1044083" y="337344"/>
                  </a:cubicBezTo>
                  <a:cubicBezTo>
                    <a:pt x="1039075" y="346631"/>
                    <a:pt x="1039075" y="356632"/>
                    <a:pt x="1041936" y="366634"/>
                  </a:cubicBezTo>
                  <a:cubicBezTo>
                    <a:pt x="1041936" y="366634"/>
                    <a:pt x="1041936" y="366634"/>
                    <a:pt x="1065545" y="434499"/>
                  </a:cubicBezTo>
                  <a:cubicBezTo>
                    <a:pt x="1085577" y="493792"/>
                    <a:pt x="1088439" y="556657"/>
                    <a:pt x="1074130" y="617379"/>
                  </a:cubicBezTo>
                  <a:cubicBezTo>
                    <a:pt x="1074130" y="617379"/>
                    <a:pt x="1074130" y="617379"/>
                    <a:pt x="1071984" y="623809"/>
                  </a:cubicBezTo>
                  <a:cubicBezTo>
                    <a:pt x="1056245" y="688817"/>
                    <a:pt x="1019043" y="746681"/>
                    <a:pt x="966816" y="788829"/>
                  </a:cubicBezTo>
                  <a:cubicBezTo>
                    <a:pt x="966816" y="788829"/>
                    <a:pt x="966816" y="788829"/>
                    <a:pt x="946069" y="805260"/>
                  </a:cubicBezTo>
                  <a:cubicBezTo>
                    <a:pt x="938199" y="811689"/>
                    <a:pt x="929614" y="814547"/>
                    <a:pt x="920314" y="814547"/>
                  </a:cubicBezTo>
                  <a:cubicBezTo>
                    <a:pt x="906005" y="814547"/>
                    <a:pt x="893127" y="807403"/>
                    <a:pt x="885258" y="795973"/>
                  </a:cubicBezTo>
                  <a:cubicBezTo>
                    <a:pt x="878103" y="783829"/>
                    <a:pt x="876673" y="769541"/>
                    <a:pt x="882396" y="756682"/>
                  </a:cubicBezTo>
                  <a:cubicBezTo>
                    <a:pt x="882396" y="756682"/>
                    <a:pt x="882396" y="756682"/>
                    <a:pt x="931045" y="646669"/>
                  </a:cubicBezTo>
                  <a:cubicBezTo>
                    <a:pt x="937484" y="631667"/>
                    <a:pt x="931760" y="613807"/>
                    <a:pt x="917452" y="605235"/>
                  </a:cubicBezTo>
                  <a:cubicBezTo>
                    <a:pt x="912444" y="602377"/>
                    <a:pt x="906721" y="600949"/>
                    <a:pt x="901713" y="600949"/>
                  </a:cubicBezTo>
                  <a:cubicBezTo>
                    <a:pt x="890266" y="600949"/>
                    <a:pt x="880250" y="606664"/>
                    <a:pt x="873811" y="616665"/>
                  </a:cubicBezTo>
                  <a:cubicBezTo>
                    <a:pt x="873811" y="616665"/>
                    <a:pt x="873811" y="616665"/>
                    <a:pt x="710693" y="875268"/>
                  </a:cubicBezTo>
                  <a:cubicBezTo>
                    <a:pt x="696385" y="897414"/>
                    <a:pt x="688515" y="923846"/>
                    <a:pt x="688515" y="950278"/>
                  </a:cubicBezTo>
                  <a:cubicBezTo>
                    <a:pt x="688515" y="950278"/>
                    <a:pt x="688515" y="950278"/>
                    <a:pt x="689946" y="1273175"/>
                  </a:cubicBezTo>
                  <a:cubicBezTo>
                    <a:pt x="689946" y="1273175"/>
                    <a:pt x="689946" y="1273175"/>
                    <a:pt x="956800" y="1273175"/>
                  </a:cubicBezTo>
                  <a:cubicBezTo>
                    <a:pt x="956800" y="1273175"/>
                    <a:pt x="956800" y="1273175"/>
                    <a:pt x="956800" y="1096010"/>
                  </a:cubicBezTo>
                  <a:cubicBezTo>
                    <a:pt x="956800" y="1094581"/>
                    <a:pt x="956800" y="1093153"/>
                    <a:pt x="956800" y="1091724"/>
                  </a:cubicBezTo>
                  <a:cubicBezTo>
                    <a:pt x="961808" y="1057434"/>
                    <a:pt x="974686" y="1024573"/>
                    <a:pt x="993287" y="995998"/>
                  </a:cubicBezTo>
                  <a:cubicBezTo>
                    <a:pt x="993287" y="995998"/>
                    <a:pt x="993287" y="995998"/>
                    <a:pt x="1059822" y="896700"/>
                  </a:cubicBezTo>
                  <a:cubicBezTo>
                    <a:pt x="1104894" y="828120"/>
                    <a:pt x="1136373" y="753110"/>
                    <a:pt x="1153543" y="672386"/>
                  </a:cubicBezTo>
                  <a:cubicBezTo>
                    <a:pt x="1153543" y="672386"/>
                    <a:pt x="1153543" y="672386"/>
                    <a:pt x="1156405" y="659527"/>
                  </a:cubicBezTo>
                  <a:cubicBezTo>
                    <a:pt x="1174290" y="575945"/>
                    <a:pt x="1168567" y="488792"/>
                    <a:pt x="1138519" y="408067"/>
                  </a:cubicBezTo>
                  <a:cubicBezTo>
                    <a:pt x="1138519" y="408067"/>
                    <a:pt x="1138519" y="408067"/>
                    <a:pt x="1113479" y="340916"/>
                  </a:cubicBezTo>
                  <a:cubicBezTo>
                    <a:pt x="1107756" y="325914"/>
                    <a:pt x="1093447" y="315913"/>
                    <a:pt x="1077708" y="315913"/>
                  </a:cubicBezTo>
                  <a:close/>
                  <a:moveTo>
                    <a:pt x="118348" y="315913"/>
                  </a:moveTo>
                  <a:cubicBezTo>
                    <a:pt x="102609" y="315913"/>
                    <a:pt x="88300" y="325914"/>
                    <a:pt x="82577" y="340916"/>
                  </a:cubicBezTo>
                  <a:cubicBezTo>
                    <a:pt x="82577" y="340916"/>
                    <a:pt x="82577" y="340916"/>
                    <a:pt x="57537" y="408067"/>
                  </a:cubicBezTo>
                  <a:cubicBezTo>
                    <a:pt x="27489" y="488792"/>
                    <a:pt x="21765" y="575945"/>
                    <a:pt x="39651" y="659527"/>
                  </a:cubicBezTo>
                  <a:cubicBezTo>
                    <a:pt x="39651" y="659527"/>
                    <a:pt x="39651" y="659527"/>
                    <a:pt x="42513" y="672386"/>
                  </a:cubicBezTo>
                  <a:cubicBezTo>
                    <a:pt x="59683" y="753110"/>
                    <a:pt x="91162" y="828120"/>
                    <a:pt x="136234" y="896700"/>
                  </a:cubicBezTo>
                  <a:cubicBezTo>
                    <a:pt x="136234" y="896700"/>
                    <a:pt x="136234" y="896700"/>
                    <a:pt x="202768" y="995998"/>
                  </a:cubicBezTo>
                  <a:cubicBezTo>
                    <a:pt x="221369" y="1024573"/>
                    <a:pt x="234247" y="1057434"/>
                    <a:pt x="239255" y="1091724"/>
                  </a:cubicBezTo>
                  <a:cubicBezTo>
                    <a:pt x="239255" y="1093153"/>
                    <a:pt x="239255" y="1094581"/>
                    <a:pt x="239255" y="1096010"/>
                  </a:cubicBezTo>
                  <a:cubicBezTo>
                    <a:pt x="239255" y="1096010"/>
                    <a:pt x="239255" y="1096010"/>
                    <a:pt x="239255" y="1273175"/>
                  </a:cubicBezTo>
                  <a:cubicBezTo>
                    <a:pt x="239255" y="1273175"/>
                    <a:pt x="239255" y="1273175"/>
                    <a:pt x="506109" y="1273175"/>
                  </a:cubicBezTo>
                  <a:cubicBezTo>
                    <a:pt x="506109" y="1273175"/>
                    <a:pt x="506109" y="1273175"/>
                    <a:pt x="507540" y="950278"/>
                  </a:cubicBezTo>
                  <a:cubicBezTo>
                    <a:pt x="507540" y="923846"/>
                    <a:pt x="499671" y="897414"/>
                    <a:pt x="485362" y="875268"/>
                  </a:cubicBezTo>
                  <a:cubicBezTo>
                    <a:pt x="485362" y="875268"/>
                    <a:pt x="485362" y="875268"/>
                    <a:pt x="322245" y="616665"/>
                  </a:cubicBezTo>
                  <a:cubicBezTo>
                    <a:pt x="315806" y="606664"/>
                    <a:pt x="305790" y="600949"/>
                    <a:pt x="294343" y="600949"/>
                  </a:cubicBezTo>
                  <a:cubicBezTo>
                    <a:pt x="289335" y="600949"/>
                    <a:pt x="283612" y="602377"/>
                    <a:pt x="278604" y="605235"/>
                  </a:cubicBezTo>
                  <a:cubicBezTo>
                    <a:pt x="264295" y="613807"/>
                    <a:pt x="258572" y="631667"/>
                    <a:pt x="265010" y="646669"/>
                  </a:cubicBezTo>
                  <a:cubicBezTo>
                    <a:pt x="265010" y="646669"/>
                    <a:pt x="265010" y="646669"/>
                    <a:pt x="313659" y="756682"/>
                  </a:cubicBezTo>
                  <a:cubicBezTo>
                    <a:pt x="319383" y="769541"/>
                    <a:pt x="317952" y="783829"/>
                    <a:pt x="310798" y="795973"/>
                  </a:cubicBezTo>
                  <a:cubicBezTo>
                    <a:pt x="302928" y="807403"/>
                    <a:pt x="290050" y="814547"/>
                    <a:pt x="275742" y="814547"/>
                  </a:cubicBezTo>
                  <a:cubicBezTo>
                    <a:pt x="266441" y="814547"/>
                    <a:pt x="257856" y="811689"/>
                    <a:pt x="249986" y="805260"/>
                  </a:cubicBezTo>
                  <a:cubicBezTo>
                    <a:pt x="249986" y="805260"/>
                    <a:pt x="249986" y="805260"/>
                    <a:pt x="229239" y="788829"/>
                  </a:cubicBezTo>
                  <a:cubicBezTo>
                    <a:pt x="177013" y="746681"/>
                    <a:pt x="139811" y="688817"/>
                    <a:pt x="124071" y="623809"/>
                  </a:cubicBezTo>
                  <a:cubicBezTo>
                    <a:pt x="124071" y="623809"/>
                    <a:pt x="124071" y="623809"/>
                    <a:pt x="121925" y="617379"/>
                  </a:cubicBezTo>
                  <a:cubicBezTo>
                    <a:pt x="107616" y="556657"/>
                    <a:pt x="110478" y="493792"/>
                    <a:pt x="130510" y="434499"/>
                  </a:cubicBezTo>
                  <a:cubicBezTo>
                    <a:pt x="130510" y="434499"/>
                    <a:pt x="130510" y="434499"/>
                    <a:pt x="154119" y="366634"/>
                  </a:cubicBezTo>
                  <a:cubicBezTo>
                    <a:pt x="157696" y="356632"/>
                    <a:pt x="156981" y="346631"/>
                    <a:pt x="151973" y="337344"/>
                  </a:cubicBezTo>
                  <a:cubicBezTo>
                    <a:pt x="147680" y="328057"/>
                    <a:pt x="139811" y="321628"/>
                    <a:pt x="129795" y="318056"/>
                  </a:cubicBezTo>
                  <a:cubicBezTo>
                    <a:pt x="126218" y="316627"/>
                    <a:pt x="121925" y="315913"/>
                    <a:pt x="118348" y="315913"/>
                  </a:cubicBezTo>
                  <a:close/>
                  <a:moveTo>
                    <a:pt x="1078223" y="284163"/>
                  </a:moveTo>
                  <a:cubicBezTo>
                    <a:pt x="1106785" y="284163"/>
                    <a:pt x="1133206" y="302034"/>
                    <a:pt x="1143202" y="329912"/>
                  </a:cubicBezTo>
                  <a:cubicBezTo>
                    <a:pt x="1143202" y="329912"/>
                    <a:pt x="1143202" y="329912"/>
                    <a:pt x="1168195" y="396390"/>
                  </a:cubicBezTo>
                  <a:cubicBezTo>
                    <a:pt x="1199614" y="482883"/>
                    <a:pt x="1206040" y="576524"/>
                    <a:pt x="1186760" y="665877"/>
                  </a:cubicBezTo>
                  <a:cubicBezTo>
                    <a:pt x="1186760" y="665877"/>
                    <a:pt x="1186760" y="665877"/>
                    <a:pt x="1183904" y="679458"/>
                  </a:cubicBezTo>
                  <a:cubicBezTo>
                    <a:pt x="1166767" y="763092"/>
                    <a:pt x="1133206" y="842437"/>
                    <a:pt x="1086077" y="913919"/>
                  </a:cubicBezTo>
                  <a:cubicBezTo>
                    <a:pt x="1086077" y="913919"/>
                    <a:pt x="1086077" y="913919"/>
                    <a:pt x="1020383" y="1013279"/>
                  </a:cubicBezTo>
                  <a:cubicBezTo>
                    <a:pt x="1003960" y="1038298"/>
                    <a:pt x="993249" y="1066890"/>
                    <a:pt x="988964" y="1096198"/>
                  </a:cubicBezTo>
                  <a:cubicBezTo>
                    <a:pt x="988964" y="1096198"/>
                    <a:pt x="988964" y="1096198"/>
                    <a:pt x="989678" y="1289199"/>
                  </a:cubicBezTo>
                  <a:cubicBezTo>
                    <a:pt x="989678" y="1297777"/>
                    <a:pt x="982538" y="1304925"/>
                    <a:pt x="973969" y="1304925"/>
                  </a:cubicBezTo>
                  <a:cubicBezTo>
                    <a:pt x="973969" y="1304925"/>
                    <a:pt x="973969" y="1304925"/>
                    <a:pt x="667635" y="1304925"/>
                  </a:cubicBezTo>
                  <a:cubicBezTo>
                    <a:pt x="662637" y="1302066"/>
                    <a:pt x="659780" y="1296347"/>
                    <a:pt x="659780" y="1291344"/>
                  </a:cubicBezTo>
                  <a:cubicBezTo>
                    <a:pt x="659780" y="1291344"/>
                    <a:pt x="659780" y="1291344"/>
                    <a:pt x="658352" y="950375"/>
                  </a:cubicBezTo>
                  <a:cubicBezTo>
                    <a:pt x="658352" y="917493"/>
                    <a:pt x="667635" y="886041"/>
                    <a:pt x="684773" y="858163"/>
                  </a:cubicBezTo>
                  <a:cubicBezTo>
                    <a:pt x="684773" y="858163"/>
                    <a:pt x="684773" y="858163"/>
                    <a:pt x="849008" y="599398"/>
                  </a:cubicBezTo>
                  <a:cubicBezTo>
                    <a:pt x="860433" y="580098"/>
                    <a:pt x="881141" y="569376"/>
                    <a:pt x="902563" y="569376"/>
                  </a:cubicBezTo>
                  <a:cubicBezTo>
                    <a:pt x="912559" y="569376"/>
                    <a:pt x="923984" y="572235"/>
                    <a:pt x="933267" y="577954"/>
                  </a:cubicBezTo>
                  <a:cubicBezTo>
                    <a:pt x="961830" y="594395"/>
                    <a:pt x="973969" y="629421"/>
                    <a:pt x="960402" y="659443"/>
                  </a:cubicBezTo>
                  <a:cubicBezTo>
                    <a:pt x="960402" y="659443"/>
                    <a:pt x="960402" y="659443"/>
                    <a:pt x="911845" y="769525"/>
                  </a:cubicBezTo>
                  <a:cubicBezTo>
                    <a:pt x="908989" y="776674"/>
                    <a:pt x="914702" y="783107"/>
                    <a:pt x="921128" y="783107"/>
                  </a:cubicBezTo>
                  <a:cubicBezTo>
                    <a:pt x="922556" y="783107"/>
                    <a:pt x="924699" y="782392"/>
                    <a:pt x="926841" y="780963"/>
                  </a:cubicBezTo>
                  <a:cubicBezTo>
                    <a:pt x="926841" y="780963"/>
                    <a:pt x="926841" y="780963"/>
                    <a:pt x="948263" y="763807"/>
                  </a:cubicBezTo>
                  <a:cubicBezTo>
                    <a:pt x="994677" y="726636"/>
                    <a:pt x="1028238" y="674454"/>
                    <a:pt x="1042519" y="616554"/>
                  </a:cubicBezTo>
                  <a:cubicBezTo>
                    <a:pt x="1042519" y="616554"/>
                    <a:pt x="1042519" y="616554"/>
                    <a:pt x="1043947" y="609406"/>
                  </a:cubicBezTo>
                  <a:cubicBezTo>
                    <a:pt x="1057515" y="555080"/>
                    <a:pt x="1054658" y="497894"/>
                    <a:pt x="1036093" y="444997"/>
                  </a:cubicBezTo>
                  <a:cubicBezTo>
                    <a:pt x="1036093" y="444997"/>
                    <a:pt x="1036093" y="444997"/>
                    <a:pt x="1013243" y="376375"/>
                  </a:cubicBezTo>
                  <a:cubicBezTo>
                    <a:pt x="1000389" y="339919"/>
                    <a:pt x="1019669" y="299889"/>
                    <a:pt x="1056801" y="287737"/>
                  </a:cubicBezTo>
                  <a:cubicBezTo>
                    <a:pt x="1063941" y="285593"/>
                    <a:pt x="1071082" y="284163"/>
                    <a:pt x="1078223" y="284163"/>
                  </a:cubicBezTo>
                  <a:close/>
                  <a:moveTo>
                    <a:pt x="119420" y="284163"/>
                  </a:moveTo>
                  <a:cubicBezTo>
                    <a:pt x="126561" y="284163"/>
                    <a:pt x="133701" y="285593"/>
                    <a:pt x="140842" y="287737"/>
                  </a:cubicBezTo>
                  <a:cubicBezTo>
                    <a:pt x="177973" y="299889"/>
                    <a:pt x="197253" y="339919"/>
                    <a:pt x="184400" y="376375"/>
                  </a:cubicBezTo>
                  <a:cubicBezTo>
                    <a:pt x="184400" y="376375"/>
                    <a:pt x="184400" y="376375"/>
                    <a:pt x="161550" y="444997"/>
                  </a:cubicBezTo>
                  <a:cubicBezTo>
                    <a:pt x="142984" y="497894"/>
                    <a:pt x="140128" y="555080"/>
                    <a:pt x="153695" y="609406"/>
                  </a:cubicBezTo>
                  <a:cubicBezTo>
                    <a:pt x="153695" y="609406"/>
                    <a:pt x="153695" y="609406"/>
                    <a:pt x="155123" y="616554"/>
                  </a:cubicBezTo>
                  <a:cubicBezTo>
                    <a:pt x="169404" y="674454"/>
                    <a:pt x="202966" y="726636"/>
                    <a:pt x="249380" y="763807"/>
                  </a:cubicBezTo>
                  <a:cubicBezTo>
                    <a:pt x="249380" y="763807"/>
                    <a:pt x="249380" y="763807"/>
                    <a:pt x="270802" y="780963"/>
                  </a:cubicBezTo>
                  <a:cubicBezTo>
                    <a:pt x="272944" y="782392"/>
                    <a:pt x="275086" y="783107"/>
                    <a:pt x="276514" y="783107"/>
                  </a:cubicBezTo>
                  <a:cubicBezTo>
                    <a:pt x="282941" y="783107"/>
                    <a:pt x="288653" y="776674"/>
                    <a:pt x="285797" y="769525"/>
                  </a:cubicBezTo>
                  <a:cubicBezTo>
                    <a:pt x="285797" y="769525"/>
                    <a:pt x="285797" y="769525"/>
                    <a:pt x="237241" y="659443"/>
                  </a:cubicBezTo>
                  <a:cubicBezTo>
                    <a:pt x="223673" y="629421"/>
                    <a:pt x="235813" y="594395"/>
                    <a:pt x="264375" y="577954"/>
                  </a:cubicBezTo>
                  <a:cubicBezTo>
                    <a:pt x="273658" y="572235"/>
                    <a:pt x="285083" y="569376"/>
                    <a:pt x="295080" y="569376"/>
                  </a:cubicBezTo>
                  <a:cubicBezTo>
                    <a:pt x="316502" y="569376"/>
                    <a:pt x="337210" y="580098"/>
                    <a:pt x="348635" y="599398"/>
                  </a:cubicBezTo>
                  <a:cubicBezTo>
                    <a:pt x="348635" y="599398"/>
                    <a:pt x="348635" y="599398"/>
                    <a:pt x="512870" y="858163"/>
                  </a:cubicBezTo>
                  <a:cubicBezTo>
                    <a:pt x="530007" y="886041"/>
                    <a:pt x="539290" y="917493"/>
                    <a:pt x="539290" y="950375"/>
                  </a:cubicBezTo>
                  <a:cubicBezTo>
                    <a:pt x="539290" y="950375"/>
                    <a:pt x="539290" y="950375"/>
                    <a:pt x="537862" y="1291344"/>
                  </a:cubicBezTo>
                  <a:cubicBezTo>
                    <a:pt x="537862" y="1296347"/>
                    <a:pt x="535006" y="1302066"/>
                    <a:pt x="530007" y="1304925"/>
                  </a:cubicBezTo>
                  <a:cubicBezTo>
                    <a:pt x="530007" y="1304925"/>
                    <a:pt x="530007" y="1304925"/>
                    <a:pt x="224387" y="1304925"/>
                  </a:cubicBezTo>
                  <a:cubicBezTo>
                    <a:pt x="223673" y="1304925"/>
                    <a:pt x="223673" y="1304925"/>
                    <a:pt x="223673" y="1304925"/>
                  </a:cubicBezTo>
                  <a:cubicBezTo>
                    <a:pt x="215105" y="1304925"/>
                    <a:pt x="207964" y="1297777"/>
                    <a:pt x="207964" y="1289199"/>
                  </a:cubicBezTo>
                  <a:cubicBezTo>
                    <a:pt x="207964" y="1289199"/>
                    <a:pt x="207964" y="1289199"/>
                    <a:pt x="208678" y="1096198"/>
                  </a:cubicBezTo>
                  <a:cubicBezTo>
                    <a:pt x="204394" y="1066890"/>
                    <a:pt x="193683" y="1038298"/>
                    <a:pt x="177259" y="1013279"/>
                  </a:cubicBezTo>
                  <a:cubicBezTo>
                    <a:pt x="177259" y="1013279"/>
                    <a:pt x="177259" y="1013279"/>
                    <a:pt x="111565" y="913919"/>
                  </a:cubicBezTo>
                  <a:cubicBezTo>
                    <a:pt x="64437" y="842437"/>
                    <a:pt x="30876" y="763092"/>
                    <a:pt x="13738" y="679458"/>
                  </a:cubicBezTo>
                  <a:cubicBezTo>
                    <a:pt x="13738" y="679458"/>
                    <a:pt x="13738" y="679458"/>
                    <a:pt x="10882" y="665877"/>
                  </a:cubicBezTo>
                  <a:cubicBezTo>
                    <a:pt x="-8398" y="576524"/>
                    <a:pt x="-1971" y="482883"/>
                    <a:pt x="29448" y="396390"/>
                  </a:cubicBezTo>
                  <a:cubicBezTo>
                    <a:pt x="29448" y="396390"/>
                    <a:pt x="29448" y="396390"/>
                    <a:pt x="54440" y="329912"/>
                  </a:cubicBezTo>
                  <a:cubicBezTo>
                    <a:pt x="64437" y="302034"/>
                    <a:pt x="90857" y="284163"/>
                    <a:pt x="119420" y="284163"/>
                  </a:cubicBezTo>
                  <a:close/>
                  <a:moveTo>
                    <a:pt x="586062" y="84138"/>
                  </a:moveTo>
                  <a:cubicBezTo>
                    <a:pt x="611739" y="84138"/>
                    <a:pt x="611739" y="84138"/>
                    <a:pt x="611739" y="84138"/>
                  </a:cubicBezTo>
                  <a:cubicBezTo>
                    <a:pt x="611739" y="102626"/>
                    <a:pt x="611739" y="102626"/>
                    <a:pt x="611739" y="102626"/>
                  </a:cubicBezTo>
                  <a:cubicBezTo>
                    <a:pt x="624577" y="104048"/>
                    <a:pt x="635988" y="106892"/>
                    <a:pt x="641694" y="112581"/>
                  </a:cubicBezTo>
                  <a:cubicBezTo>
                    <a:pt x="633849" y="136046"/>
                    <a:pt x="633849" y="136046"/>
                    <a:pt x="633849" y="136046"/>
                  </a:cubicBezTo>
                  <a:cubicBezTo>
                    <a:pt x="623150" y="128935"/>
                    <a:pt x="611739" y="125380"/>
                    <a:pt x="600327" y="125380"/>
                  </a:cubicBezTo>
                  <a:cubicBezTo>
                    <a:pt x="593908" y="125380"/>
                    <a:pt x="588915" y="127513"/>
                    <a:pt x="585349" y="130357"/>
                  </a:cubicBezTo>
                  <a:cubicBezTo>
                    <a:pt x="581070" y="133913"/>
                    <a:pt x="579643" y="138890"/>
                    <a:pt x="579643" y="144579"/>
                  </a:cubicBezTo>
                  <a:cubicBezTo>
                    <a:pt x="579643" y="153112"/>
                    <a:pt x="589629" y="163066"/>
                    <a:pt x="611025" y="172310"/>
                  </a:cubicBezTo>
                  <a:cubicBezTo>
                    <a:pt x="621724" y="177999"/>
                    <a:pt x="630282" y="183687"/>
                    <a:pt x="635275" y="187954"/>
                  </a:cubicBezTo>
                  <a:cubicBezTo>
                    <a:pt x="639554" y="192220"/>
                    <a:pt x="642407" y="197198"/>
                    <a:pt x="645260" y="202886"/>
                  </a:cubicBezTo>
                  <a:cubicBezTo>
                    <a:pt x="647400" y="209286"/>
                    <a:pt x="648826" y="214974"/>
                    <a:pt x="648826" y="222085"/>
                  </a:cubicBezTo>
                  <a:cubicBezTo>
                    <a:pt x="648826" y="232751"/>
                    <a:pt x="645973" y="241284"/>
                    <a:pt x="638841" y="249105"/>
                  </a:cubicBezTo>
                  <a:cubicBezTo>
                    <a:pt x="633135" y="256216"/>
                    <a:pt x="623150" y="261905"/>
                    <a:pt x="611739" y="264749"/>
                  </a:cubicBezTo>
                  <a:cubicBezTo>
                    <a:pt x="611739" y="288925"/>
                    <a:pt x="611739" y="288925"/>
                    <a:pt x="611739" y="288925"/>
                  </a:cubicBezTo>
                  <a:cubicBezTo>
                    <a:pt x="586062" y="288925"/>
                    <a:pt x="586062" y="288925"/>
                    <a:pt x="586062" y="288925"/>
                  </a:cubicBezTo>
                  <a:cubicBezTo>
                    <a:pt x="586062" y="266171"/>
                    <a:pt x="586062" y="266171"/>
                    <a:pt x="586062" y="266171"/>
                  </a:cubicBezTo>
                  <a:cubicBezTo>
                    <a:pt x="573224" y="266171"/>
                    <a:pt x="561813" y="261905"/>
                    <a:pt x="550401" y="254794"/>
                  </a:cubicBezTo>
                  <a:cubicBezTo>
                    <a:pt x="561813" y="229907"/>
                    <a:pt x="561813" y="229907"/>
                    <a:pt x="561813" y="229907"/>
                  </a:cubicBezTo>
                  <a:cubicBezTo>
                    <a:pt x="572511" y="237728"/>
                    <a:pt x="583923" y="241284"/>
                    <a:pt x="594621" y="241284"/>
                  </a:cubicBezTo>
                  <a:cubicBezTo>
                    <a:pt x="611739" y="241284"/>
                    <a:pt x="620297" y="235595"/>
                    <a:pt x="620297" y="224218"/>
                  </a:cubicBezTo>
                  <a:cubicBezTo>
                    <a:pt x="620297" y="218530"/>
                    <a:pt x="618158" y="213552"/>
                    <a:pt x="613878" y="208575"/>
                  </a:cubicBezTo>
                  <a:cubicBezTo>
                    <a:pt x="609599" y="203597"/>
                    <a:pt x="601040" y="197909"/>
                    <a:pt x="588915" y="191509"/>
                  </a:cubicBezTo>
                  <a:cubicBezTo>
                    <a:pt x="576791" y="185821"/>
                    <a:pt x="569658" y="180843"/>
                    <a:pt x="564666" y="177288"/>
                  </a:cubicBezTo>
                  <a:cubicBezTo>
                    <a:pt x="560386" y="172310"/>
                    <a:pt x="557533" y="168044"/>
                    <a:pt x="553967" y="162355"/>
                  </a:cubicBezTo>
                  <a:cubicBezTo>
                    <a:pt x="551828" y="156667"/>
                    <a:pt x="551114" y="150978"/>
                    <a:pt x="551114" y="144579"/>
                  </a:cubicBezTo>
                  <a:cubicBezTo>
                    <a:pt x="551114" y="133913"/>
                    <a:pt x="553967" y="125380"/>
                    <a:pt x="561100" y="118980"/>
                  </a:cubicBezTo>
                  <a:cubicBezTo>
                    <a:pt x="567519" y="111870"/>
                    <a:pt x="575364" y="106892"/>
                    <a:pt x="586062" y="104048"/>
                  </a:cubicBezTo>
                  <a:cubicBezTo>
                    <a:pt x="586062" y="84138"/>
                    <a:pt x="586062" y="84138"/>
                    <a:pt x="586062" y="84138"/>
                  </a:cubicBezTo>
                  <a:close/>
                  <a:moveTo>
                    <a:pt x="650414" y="63500"/>
                  </a:moveTo>
                  <a:cubicBezTo>
                    <a:pt x="650414" y="63500"/>
                    <a:pt x="650414" y="63500"/>
                    <a:pt x="877654" y="63500"/>
                  </a:cubicBezTo>
                  <a:cubicBezTo>
                    <a:pt x="877654" y="63500"/>
                    <a:pt x="877654" y="63500"/>
                    <a:pt x="877654" y="64218"/>
                  </a:cubicBezTo>
                  <a:cubicBezTo>
                    <a:pt x="876939" y="67087"/>
                    <a:pt x="876225" y="70674"/>
                    <a:pt x="876225" y="73543"/>
                  </a:cubicBezTo>
                  <a:cubicBezTo>
                    <a:pt x="876225" y="89326"/>
                    <a:pt x="889087" y="102956"/>
                    <a:pt x="904808" y="102956"/>
                  </a:cubicBezTo>
                  <a:cubicBezTo>
                    <a:pt x="907667" y="102956"/>
                    <a:pt x="911240" y="101521"/>
                    <a:pt x="914098" y="100804"/>
                  </a:cubicBezTo>
                  <a:cubicBezTo>
                    <a:pt x="914813" y="100804"/>
                    <a:pt x="915527" y="100804"/>
                    <a:pt x="915527" y="101521"/>
                  </a:cubicBezTo>
                  <a:cubicBezTo>
                    <a:pt x="915527" y="101521"/>
                    <a:pt x="915527" y="101521"/>
                    <a:pt x="915527" y="272976"/>
                  </a:cubicBezTo>
                  <a:cubicBezTo>
                    <a:pt x="915527" y="273693"/>
                    <a:pt x="914813" y="274410"/>
                    <a:pt x="914098" y="274410"/>
                  </a:cubicBezTo>
                  <a:cubicBezTo>
                    <a:pt x="911240" y="272976"/>
                    <a:pt x="907667" y="272258"/>
                    <a:pt x="904808" y="272258"/>
                  </a:cubicBezTo>
                  <a:cubicBezTo>
                    <a:pt x="889087" y="272258"/>
                    <a:pt x="876225" y="285171"/>
                    <a:pt x="876225" y="300954"/>
                  </a:cubicBezTo>
                  <a:cubicBezTo>
                    <a:pt x="876225" y="303823"/>
                    <a:pt x="876225" y="305975"/>
                    <a:pt x="876939" y="308845"/>
                  </a:cubicBezTo>
                  <a:cubicBezTo>
                    <a:pt x="876939" y="308845"/>
                    <a:pt x="876939" y="308845"/>
                    <a:pt x="876939" y="309562"/>
                  </a:cubicBezTo>
                  <a:cubicBezTo>
                    <a:pt x="876939" y="309562"/>
                    <a:pt x="876939" y="309562"/>
                    <a:pt x="650414" y="309562"/>
                  </a:cubicBezTo>
                  <a:cubicBezTo>
                    <a:pt x="650414" y="308845"/>
                    <a:pt x="650414" y="308845"/>
                    <a:pt x="651129" y="308127"/>
                  </a:cubicBezTo>
                  <a:cubicBezTo>
                    <a:pt x="680427" y="287323"/>
                    <a:pt x="708296" y="239976"/>
                    <a:pt x="708296" y="186890"/>
                  </a:cubicBezTo>
                  <a:cubicBezTo>
                    <a:pt x="708296" y="133086"/>
                    <a:pt x="680427" y="86456"/>
                    <a:pt x="651129" y="64935"/>
                  </a:cubicBezTo>
                  <a:cubicBezTo>
                    <a:pt x="650414" y="64218"/>
                    <a:pt x="650414" y="64218"/>
                    <a:pt x="650414" y="63500"/>
                  </a:cubicBezTo>
                  <a:close/>
                  <a:moveTo>
                    <a:pt x="320725" y="63500"/>
                  </a:moveTo>
                  <a:cubicBezTo>
                    <a:pt x="320725" y="63500"/>
                    <a:pt x="320725" y="63500"/>
                    <a:pt x="548099" y="63500"/>
                  </a:cubicBezTo>
                  <a:cubicBezTo>
                    <a:pt x="548814" y="64218"/>
                    <a:pt x="548099" y="64218"/>
                    <a:pt x="547384" y="64935"/>
                  </a:cubicBezTo>
                  <a:cubicBezTo>
                    <a:pt x="518784" y="86456"/>
                    <a:pt x="490183" y="133086"/>
                    <a:pt x="490183" y="186890"/>
                  </a:cubicBezTo>
                  <a:cubicBezTo>
                    <a:pt x="490183" y="239976"/>
                    <a:pt x="518784" y="287323"/>
                    <a:pt x="547384" y="308127"/>
                  </a:cubicBezTo>
                  <a:cubicBezTo>
                    <a:pt x="548099" y="308845"/>
                    <a:pt x="548814" y="308845"/>
                    <a:pt x="548099" y="309562"/>
                  </a:cubicBezTo>
                  <a:cubicBezTo>
                    <a:pt x="548099" y="309562"/>
                    <a:pt x="548099" y="309562"/>
                    <a:pt x="320725" y="309562"/>
                  </a:cubicBezTo>
                  <a:cubicBezTo>
                    <a:pt x="320725" y="309562"/>
                    <a:pt x="320725" y="309562"/>
                    <a:pt x="320725" y="308845"/>
                  </a:cubicBezTo>
                  <a:cubicBezTo>
                    <a:pt x="321440" y="305975"/>
                    <a:pt x="322155" y="303823"/>
                    <a:pt x="322155" y="300954"/>
                  </a:cubicBezTo>
                  <a:cubicBezTo>
                    <a:pt x="322155" y="285171"/>
                    <a:pt x="308570" y="272258"/>
                    <a:pt x="292839" y="272258"/>
                  </a:cubicBezTo>
                  <a:cubicBezTo>
                    <a:pt x="289979" y="272258"/>
                    <a:pt x="286404" y="272976"/>
                    <a:pt x="284259" y="273693"/>
                  </a:cubicBezTo>
                  <a:cubicBezTo>
                    <a:pt x="282829" y="274410"/>
                    <a:pt x="282114" y="273693"/>
                    <a:pt x="282114" y="272976"/>
                  </a:cubicBezTo>
                  <a:cubicBezTo>
                    <a:pt x="282114" y="272976"/>
                    <a:pt x="282114" y="272976"/>
                    <a:pt x="282114" y="102239"/>
                  </a:cubicBezTo>
                  <a:cubicBezTo>
                    <a:pt x="282114" y="100804"/>
                    <a:pt x="282829" y="100804"/>
                    <a:pt x="284259" y="100804"/>
                  </a:cubicBezTo>
                  <a:cubicBezTo>
                    <a:pt x="286404" y="101521"/>
                    <a:pt x="289979" y="102956"/>
                    <a:pt x="292839" y="102956"/>
                  </a:cubicBezTo>
                  <a:cubicBezTo>
                    <a:pt x="308570" y="102956"/>
                    <a:pt x="322155" y="89326"/>
                    <a:pt x="322155" y="73543"/>
                  </a:cubicBezTo>
                  <a:cubicBezTo>
                    <a:pt x="322155" y="70674"/>
                    <a:pt x="321440" y="67087"/>
                    <a:pt x="320725" y="64218"/>
                  </a:cubicBezTo>
                  <a:cubicBezTo>
                    <a:pt x="320725" y="64218"/>
                    <a:pt x="320725" y="64218"/>
                    <a:pt x="320725" y="63500"/>
                  </a:cubicBezTo>
                  <a:close/>
                  <a:moveTo>
                    <a:pt x="248776" y="31750"/>
                  </a:moveTo>
                  <a:cubicBezTo>
                    <a:pt x="248776" y="31750"/>
                    <a:pt x="248776" y="31750"/>
                    <a:pt x="248776" y="341312"/>
                  </a:cubicBezTo>
                  <a:cubicBezTo>
                    <a:pt x="248776" y="341312"/>
                    <a:pt x="248776" y="341312"/>
                    <a:pt x="947276" y="341312"/>
                  </a:cubicBezTo>
                  <a:cubicBezTo>
                    <a:pt x="947276" y="341312"/>
                    <a:pt x="947276" y="341312"/>
                    <a:pt x="947276" y="31750"/>
                  </a:cubicBezTo>
                  <a:cubicBezTo>
                    <a:pt x="947276" y="31750"/>
                    <a:pt x="947276" y="31750"/>
                    <a:pt x="248776" y="31750"/>
                  </a:cubicBezTo>
                  <a:close/>
                  <a:moveTo>
                    <a:pt x="226319" y="0"/>
                  </a:moveTo>
                  <a:cubicBezTo>
                    <a:pt x="969734" y="0"/>
                    <a:pt x="969734" y="0"/>
                    <a:pt x="969734" y="0"/>
                  </a:cubicBezTo>
                  <a:cubicBezTo>
                    <a:pt x="975452" y="0"/>
                    <a:pt x="979026" y="3574"/>
                    <a:pt x="979026" y="8576"/>
                  </a:cubicBezTo>
                  <a:cubicBezTo>
                    <a:pt x="979026" y="363771"/>
                    <a:pt x="979026" y="363771"/>
                    <a:pt x="979026" y="363771"/>
                  </a:cubicBezTo>
                  <a:cubicBezTo>
                    <a:pt x="979026" y="368774"/>
                    <a:pt x="975452" y="373062"/>
                    <a:pt x="969734" y="373062"/>
                  </a:cubicBezTo>
                  <a:cubicBezTo>
                    <a:pt x="226319" y="373062"/>
                    <a:pt x="226319" y="373062"/>
                    <a:pt x="226319" y="373062"/>
                  </a:cubicBezTo>
                  <a:cubicBezTo>
                    <a:pt x="221315" y="373062"/>
                    <a:pt x="217026" y="368774"/>
                    <a:pt x="217026" y="363771"/>
                  </a:cubicBezTo>
                  <a:cubicBezTo>
                    <a:pt x="217026" y="8576"/>
                    <a:pt x="217026" y="8576"/>
                    <a:pt x="217026" y="8576"/>
                  </a:cubicBezTo>
                  <a:cubicBezTo>
                    <a:pt x="217026" y="3574"/>
                    <a:pt x="221315" y="0"/>
                    <a:pt x="2263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grpSp>
        <p:nvGrpSpPr>
          <p:cNvPr id="81" name="Group 80">
            <a:extLst>
              <a:ext uri="{FF2B5EF4-FFF2-40B4-BE49-F238E27FC236}">
                <a16:creationId xmlns:a16="http://schemas.microsoft.com/office/drawing/2014/main" id="{11EF18CC-05B9-46BE-9DE9-463F1869008B}"/>
              </a:ext>
            </a:extLst>
          </p:cNvPr>
          <p:cNvGrpSpPr>
            <a:grpSpLocks noChangeAspect="1"/>
          </p:cNvGrpSpPr>
          <p:nvPr/>
        </p:nvGrpSpPr>
        <p:grpSpPr>
          <a:xfrm>
            <a:off x="1998275" y="2530347"/>
            <a:ext cx="1360266" cy="1360266"/>
            <a:chOff x="5273675" y="2606675"/>
            <a:chExt cx="1644650" cy="1644650"/>
          </a:xfrm>
        </p:grpSpPr>
        <p:sp>
          <p:nvSpPr>
            <p:cNvPr id="82" name="AutoShape 3">
              <a:extLst>
                <a:ext uri="{FF2B5EF4-FFF2-40B4-BE49-F238E27FC236}">
                  <a16:creationId xmlns:a16="http://schemas.microsoft.com/office/drawing/2014/main" id="{4E22F82F-402B-473C-BC54-A2205115860A}"/>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sp>
          <p:nvSpPr>
            <p:cNvPr id="88" name="Freeform 10">
              <a:extLst>
                <a:ext uri="{FF2B5EF4-FFF2-40B4-BE49-F238E27FC236}">
                  <a16:creationId xmlns:a16="http://schemas.microsoft.com/office/drawing/2014/main" id="{91AE2E23-FB6C-4452-9ECD-D2D2C2071944}"/>
                </a:ext>
              </a:extLst>
            </p:cNvPr>
            <p:cNvSpPr>
              <a:spLocks noChangeArrowheads="1"/>
            </p:cNvSpPr>
            <p:nvPr/>
          </p:nvSpPr>
          <p:spPr bwMode="auto">
            <a:xfrm>
              <a:off x="5444599" y="3152775"/>
              <a:ext cx="1302803" cy="552451"/>
            </a:xfrm>
            <a:custGeom>
              <a:avLst/>
              <a:gdLst>
                <a:gd name="connsiteX0" fmla="*/ 1086933 w 1302803"/>
                <a:gd name="connsiteY0" fmla="*/ 406063 h 552451"/>
                <a:gd name="connsiteX1" fmla="*/ 1076251 w 1302803"/>
                <a:gd name="connsiteY1" fmla="*/ 409816 h 552451"/>
                <a:gd name="connsiteX2" fmla="*/ 1008596 w 1302803"/>
                <a:gd name="connsiteY2" fmla="*/ 477732 h 552451"/>
                <a:gd name="connsiteX3" fmla="*/ 977974 w 1302803"/>
                <a:gd name="connsiteY3" fmla="*/ 446991 h 552451"/>
                <a:gd name="connsiteX4" fmla="*/ 956609 w 1302803"/>
                <a:gd name="connsiteY4" fmla="*/ 446991 h 552451"/>
                <a:gd name="connsiteX5" fmla="*/ 956609 w 1302803"/>
                <a:gd name="connsiteY5" fmla="*/ 468438 h 552451"/>
                <a:gd name="connsiteX6" fmla="*/ 995778 w 1302803"/>
                <a:gd name="connsiteY6" fmla="*/ 507758 h 552451"/>
                <a:gd name="connsiteX7" fmla="*/ 1000763 w 1302803"/>
                <a:gd name="connsiteY7" fmla="*/ 510617 h 552451"/>
                <a:gd name="connsiteX8" fmla="*/ 1009309 w 1302803"/>
                <a:gd name="connsiteY8" fmla="*/ 512762 h 552451"/>
                <a:gd name="connsiteX9" fmla="*/ 1019279 w 1302803"/>
                <a:gd name="connsiteY9" fmla="*/ 509188 h 552451"/>
                <a:gd name="connsiteX10" fmla="*/ 1097615 w 1302803"/>
                <a:gd name="connsiteY10" fmla="*/ 431263 h 552451"/>
                <a:gd name="connsiteX11" fmla="*/ 1097615 w 1302803"/>
                <a:gd name="connsiteY11" fmla="*/ 409816 h 552451"/>
                <a:gd name="connsiteX12" fmla="*/ 1086933 w 1302803"/>
                <a:gd name="connsiteY12" fmla="*/ 406063 h 552451"/>
                <a:gd name="connsiteX13" fmla="*/ 249702 w 1302803"/>
                <a:gd name="connsiteY13" fmla="*/ 406063 h 552451"/>
                <a:gd name="connsiteX14" fmla="*/ 238638 w 1302803"/>
                <a:gd name="connsiteY14" fmla="*/ 409816 h 552451"/>
                <a:gd name="connsiteX15" fmla="*/ 171718 w 1302803"/>
                <a:gd name="connsiteY15" fmla="*/ 477732 h 552451"/>
                <a:gd name="connsiteX16" fmla="*/ 140776 w 1302803"/>
                <a:gd name="connsiteY16" fmla="*/ 446991 h 552451"/>
                <a:gd name="connsiteX17" fmla="*/ 118470 w 1302803"/>
                <a:gd name="connsiteY17" fmla="*/ 446991 h 552451"/>
                <a:gd name="connsiteX18" fmla="*/ 118470 w 1302803"/>
                <a:gd name="connsiteY18" fmla="*/ 468438 h 552451"/>
                <a:gd name="connsiteX19" fmla="*/ 158046 w 1302803"/>
                <a:gd name="connsiteY19" fmla="*/ 507758 h 552451"/>
                <a:gd name="connsiteX20" fmla="*/ 163803 w 1302803"/>
                <a:gd name="connsiteY20" fmla="*/ 510617 h 552451"/>
                <a:gd name="connsiteX21" fmla="*/ 171718 w 1302803"/>
                <a:gd name="connsiteY21" fmla="*/ 512762 h 552451"/>
                <a:gd name="connsiteX22" fmla="*/ 182512 w 1302803"/>
                <a:gd name="connsiteY22" fmla="*/ 509188 h 552451"/>
                <a:gd name="connsiteX23" fmla="*/ 260225 w 1302803"/>
                <a:gd name="connsiteY23" fmla="*/ 431263 h 552451"/>
                <a:gd name="connsiteX24" fmla="*/ 260225 w 1302803"/>
                <a:gd name="connsiteY24" fmla="*/ 409816 h 552451"/>
                <a:gd name="connsiteX25" fmla="*/ 249702 w 1302803"/>
                <a:gd name="connsiteY25" fmla="*/ 406063 h 552451"/>
                <a:gd name="connsiteX26" fmla="*/ 566052 w 1302803"/>
                <a:gd name="connsiteY26" fmla="*/ 388952 h 552451"/>
                <a:gd name="connsiteX27" fmla="*/ 554986 w 1302803"/>
                <a:gd name="connsiteY27" fmla="*/ 393758 h 552451"/>
                <a:gd name="connsiteX28" fmla="*/ 554986 w 1302803"/>
                <a:gd name="connsiteY28" fmla="*/ 415117 h 552451"/>
                <a:gd name="connsiteX29" fmla="*/ 587826 w 1302803"/>
                <a:gd name="connsiteY29" fmla="*/ 447868 h 552451"/>
                <a:gd name="connsiteX30" fmla="*/ 554986 w 1302803"/>
                <a:gd name="connsiteY30" fmla="*/ 479194 h 552451"/>
                <a:gd name="connsiteX31" fmla="*/ 554986 w 1302803"/>
                <a:gd name="connsiteY31" fmla="*/ 499841 h 552451"/>
                <a:gd name="connsiteX32" fmla="*/ 566409 w 1302803"/>
                <a:gd name="connsiteY32" fmla="*/ 504825 h 552451"/>
                <a:gd name="connsiteX33" fmla="*/ 577118 w 1302803"/>
                <a:gd name="connsiteY33" fmla="*/ 499841 h 552451"/>
                <a:gd name="connsiteX34" fmla="*/ 609957 w 1302803"/>
                <a:gd name="connsiteY34" fmla="*/ 469227 h 552451"/>
                <a:gd name="connsiteX35" fmla="*/ 642083 w 1302803"/>
                <a:gd name="connsiteY35" fmla="*/ 499841 h 552451"/>
                <a:gd name="connsiteX36" fmla="*/ 652792 w 1302803"/>
                <a:gd name="connsiteY36" fmla="*/ 504825 h 552451"/>
                <a:gd name="connsiteX37" fmla="*/ 663500 w 1302803"/>
                <a:gd name="connsiteY37" fmla="*/ 499841 h 552451"/>
                <a:gd name="connsiteX38" fmla="*/ 663500 w 1302803"/>
                <a:gd name="connsiteY38" fmla="*/ 479194 h 552451"/>
                <a:gd name="connsiteX39" fmla="*/ 631374 w 1302803"/>
                <a:gd name="connsiteY39" fmla="*/ 447868 h 552451"/>
                <a:gd name="connsiteX40" fmla="*/ 663500 w 1302803"/>
                <a:gd name="connsiteY40" fmla="*/ 415117 h 552451"/>
                <a:gd name="connsiteX41" fmla="*/ 663500 w 1302803"/>
                <a:gd name="connsiteY41" fmla="*/ 393758 h 552451"/>
                <a:gd name="connsiteX42" fmla="*/ 642083 w 1302803"/>
                <a:gd name="connsiteY42" fmla="*/ 393758 h 552451"/>
                <a:gd name="connsiteX43" fmla="*/ 609957 w 1302803"/>
                <a:gd name="connsiteY43" fmla="*/ 425796 h 552451"/>
                <a:gd name="connsiteX44" fmla="*/ 577118 w 1302803"/>
                <a:gd name="connsiteY44" fmla="*/ 393758 h 552451"/>
                <a:gd name="connsiteX45" fmla="*/ 566052 w 1302803"/>
                <a:gd name="connsiteY45" fmla="*/ 388952 h 552451"/>
                <a:gd name="connsiteX46" fmla="*/ 1027112 w 1302803"/>
                <a:gd name="connsiteY46" fmla="*/ 344487 h 552451"/>
                <a:gd name="connsiteX47" fmla="*/ 1133475 w 1302803"/>
                <a:gd name="connsiteY47" fmla="*/ 448469 h 552451"/>
                <a:gd name="connsiteX48" fmla="*/ 1027112 w 1302803"/>
                <a:gd name="connsiteY48" fmla="*/ 552451 h 552451"/>
                <a:gd name="connsiteX49" fmla="*/ 920749 w 1302803"/>
                <a:gd name="connsiteY49" fmla="*/ 448469 h 552451"/>
                <a:gd name="connsiteX50" fmla="*/ 1027112 w 1302803"/>
                <a:gd name="connsiteY50" fmla="*/ 344487 h 552451"/>
                <a:gd name="connsiteX51" fmla="*/ 192882 w 1302803"/>
                <a:gd name="connsiteY51" fmla="*/ 344487 h 552451"/>
                <a:gd name="connsiteX52" fmla="*/ 298451 w 1302803"/>
                <a:gd name="connsiteY52" fmla="*/ 448469 h 552451"/>
                <a:gd name="connsiteX53" fmla="*/ 192882 w 1302803"/>
                <a:gd name="connsiteY53" fmla="*/ 552451 h 552451"/>
                <a:gd name="connsiteX54" fmla="*/ 87313 w 1302803"/>
                <a:gd name="connsiteY54" fmla="*/ 448469 h 552451"/>
                <a:gd name="connsiteX55" fmla="*/ 192882 w 1302803"/>
                <a:gd name="connsiteY55" fmla="*/ 344487 h 552451"/>
                <a:gd name="connsiteX56" fmla="*/ 609959 w 1302803"/>
                <a:gd name="connsiteY56" fmla="*/ 342900 h 552451"/>
                <a:gd name="connsiteX57" fmla="*/ 715963 w 1302803"/>
                <a:gd name="connsiteY57" fmla="*/ 447594 h 552451"/>
                <a:gd name="connsiteX58" fmla="*/ 609959 w 1302803"/>
                <a:gd name="connsiteY58" fmla="*/ 550863 h 552451"/>
                <a:gd name="connsiteX59" fmla="*/ 503238 w 1302803"/>
                <a:gd name="connsiteY59" fmla="*/ 447594 h 552451"/>
                <a:gd name="connsiteX60" fmla="*/ 609959 w 1302803"/>
                <a:gd name="connsiteY60" fmla="*/ 342900 h 552451"/>
                <a:gd name="connsiteX61" fmla="*/ 848631 w 1302803"/>
                <a:gd name="connsiteY61" fmla="*/ 0 h 552451"/>
                <a:gd name="connsiteX62" fmla="*/ 1193581 w 1302803"/>
                <a:gd name="connsiteY62" fmla="*/ 0 h 552451"/>
                <a:gd name="connsiteX63" fmla="*/ 1208548 w 1302803"/>
                <a:gd name="connsiteY63" fmla="*/ 9278 h 552451"/>
                <a:gd name="connsiteX64" fmla="*/ 1301200 w 1302803"/>
                <a:gd name="connsiteY64" fmla="*/ 194119 h 552451"/>
                <a:gd name="connsiteX65" fmla="*/ 1301200 w 1302803"/>
                <a:gd name="connsiteY65" fmla="*/ 207679 h 552451"/>
                <a:gd name="connsiteX66" fmla="*/ 1208548 w 1302803"/>
                <a:gd name="connsiteY66" fmla="*/ 393947 h 552451"/>
                <a:gd name="connsiteX67" fmla="*/ 1193581 w 1302803"/>
                <a:gd name="connsiteY67" fmla="*/ 403225 h 552451"/>
                <a:gd name="connsiteX68" fmla="*/ 1155095 w 1302803"/>
                <a:gd name="connsiteY68" fmla="*/ 403225 h 552451"/>
                <a:gd name="connsiteX69" fmla="*/ 1027521 w 1302803"/>
                <a:gd name="connsiteY69" fmla="*/ 312588 h 552451"/>
                <a:gd name="connsiteX70" fmla="*/ 899233 w 1302803"/>
                <a:gd name="connsiteY70" fmla="*/ 403225 h 552451"/>
                <a:gd name="connsiteX71" fmla="*/ 848631 w 1302803"/>
                <a:gd name="connsiteY71" fmla="*/ 403225 h 552451"/>
                <a:gd name="connsiteX72" fmla="*/ 833664 w 1302803"/>
                <a:gd name="connsiteY72" fmla="*/ 380388 h 552451"/>
                <a:gd name="connsiteX73" fmla="*/ 919189 w 1302803"/>
                <a:gd name="connsiteY73" fmla="*/ 207679 h 552451"/>
                <a:gd name="connsiteX74" fmla="*/ 919189 w 1302803"/>
                <a:gd name="connsiteY74" fmla="*/ 194119 h 552451"/>
                <a:gd name="connsiteX75" fmla="*/ 833664 w 1302803"/>
                <a:gd name="connsiteY75" fmla="*/ 22837 h 552451"/>
                <a:gd name="connsiteX76" fmla="*/ 848631 w 1302803"/>
                <a:gd name="connsiteY76" fmla="*/ 0 h 552451"/>
                <a:gd name="connsiteX77" fmla="*/ 430275 w 1302803"/>
                <a:gd name="connsiteY77" fmla="*/ 0 h 552451"/>
                <a:gd name="connsiteX78" fmla="*/ 775030 w 1302803"/>
                <a:gd name="connsiteY78" fmla="*/ 0 h 552451"/>
                <a:gd name="connsiteX79" fmla="*/ 790733 w 1302803"/>
                <a:gd name="connsiteY79" fmla="*/ 9278 h 552451"/>
                <a:gd name="connsiteX80" fmla="*/ 882097 w 1302803"/>
                <a:gd name="connsiteY80" fmla="*/ 194833 h 552451"/>
                <a:gd name="connsiteX81" fmla="*/ 882097 w 1302803"/>
                <a:gd name="connsiteY81" fmla="*/ 207679 h 552451"/>
                <a:gd name="connsiteX82" fmla="*/ 790733 w 1302803"/>
                <a:gd name="connsiteY82" fmla="*/ 394661 h 552451"/>
                <a:gd name="connsiteX83" fmla="*/ 775030 w 1302803"/>
                <a:gd name="connsiteY83" fmla="*/ 403225 h 552451"/>
                <a:gd name="connsiteX84" fmla="*/ 738627 w 1302803"/>
                <a:gd name="connsiteY84" fmla="*/ 403225 h 552451"/>
                <a:gd name="connsiteX85" fmla="*/ 610147 w 1302803"/>
                <a:gd name="connsiteY85" fmla="*/ 311161 h 552451"/>
                <a:gd name="connsiteX86" fmla="*/ 482381 w 1302803"/>
                <a:gd name="connsiteY86" fmla="*/ 403225 h 552451"/>
                <a:gd name="connsiteX87" fmla="*/ 430275 w 1302803"/>
                <a:gd name="connsiteY87" fmla="*/ 403225 h 552451"/>
                <a:gd name="connsiteX88" fmla="*/ 414572 w 1302803"/>
                <a:gd name="connsiteY88" fmla="*/ 380388 h 552451"/>
                <a:gd name="connsiteX89" fmla="*/ 500225 w 1302803"/>
                <a:gd name="connsiteY89" fmla="*/ 207679 h 552451"/>
                <a:gd name="connsiteX90" fmla="*/ 500225 w 1302803"/>
                <a:gd name="connsiteY90" fmla="*/ 194833 h 552451"/>
                <a:gd name="connsiteX91" fmla="*/ 414572 w 1302803"/>
                <a:gd name="connsiteY91" fmla="*/ 22838 h 552451"/>
                <a:gd name="connsiteX92" fmla="*/ 430275 w 1302803"/>
                <a:gd name="connsiteY92" fmla="*/ 0 h 552451"/>
                <a:gd name="connsiteX93" fmla="*/ 15719 w 1302803"/>
                <a:gd name="connsiteY93" fmla="*/ 0 h 552451"/>
                <a:gd name="connsiteX94" fmla="*/ 357249 w 1302803"/>
                <a:gd name="connsiteY94" fmla="*/ 0 h 552451"/>
                <a:gd name="connsiteX95" fmla="*/ 371539 w 1302803"/>
                <a:gd name="connsiteY95" fmla="*/ 9278 h 552451"/>
                <a:gd name="connsiteX96" fmla="*/ 462995 w 1302803"/>
                <a:gd name="connsiteY96" fmla="*/ 194119 h 552451"/>
                <a:gd name="connsiteX97" fmla="*/ 462995 w 1302803"/>
                <a:gd name="connsiteY97" fmla="*/ 207679 h 552451"/>
                <a:gd name="connsiteX98" fmla="*/ 371539 w 1302803"/>
                <a:gd name="connsiteY98" fmla="*/ 393947 h 552451"/>
                <a:gd name="connsiteX99" fmla="*/ 357249 w 1302803"/>
                <a:gd name="connsiteY99" fmla="*/ 403225 h 552451"/>
                <a:gd name="connsiteX100" fmla="*/ 320095 w 1302803"/>
                <a:gd name="connsiteY100" fmla="*/ 403225 h 552451"/>
                <a:gd name="connsiteX101" fmla="*/ 192915 w 1302803"/>
                <a:gd name="connsiteY101" fmla="*/ 312588 h 552451"/>
                <a:gd name="connsiteX102" fmla="*/ 65734 w 1302803"/>
                <a:gd name="connsiteY102" fmla="*/ 403225 h 552451"/>
                <a:gd name="connsiteX103" fmla="*/ 15719 w 1302803"/>
                <a:gd name="connsiteY103" fmla="*/ 403225 h 552451"/>
                <a:gd name="connsiteX104" fmla="*/ 0 w 1302803"/>
                <a:gd name="connsiteY104" fmla="*/ 386811 h 552451"/>
                <a:gd name="connsiteX105" fmla="*/ 0 w 1302803"/>
                <a:gd name="connsiteY105" fmla="*/ 16414 h 552451"/>
                <a:gd name="connsiteX106" fmla="*/ 15719 w 1302803"/>
                <a:gd name="connsiteY106" fmla="*/ 0 h 55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302803" h="552451">
                  <a:moveTo>
                    <a:pt x="1086933" y="406063"/>
                  </a:moveTo>
                  <a:cubicBezTo>
                    <a:pt x="1083016" y="406063"/>
                    <a:pt x="1079099" y="407314"/>
                    <a:pt x="1076251" y="409816"/>
                  </a:cubicBezTo>
                  <a:cubicBezTo>
                    <a:pt x="1076251" y="409816"/>
                    <a:pt x="1076251" y="409816"/>
                    <a:pt x="1008596" y="477732"/>
                  </a:cubicBezTo>
                  <a:cubicBezTo>
                    <a:pt x="1008596" y="477732"/>
                    <a:pt x="1008596" y="477732"/>
                    <a:pt x="977974" y="446991"/>
                  </a:cubicBezTo>
                  <a:cubicBezTo>
                    <a:pt x="972277" y="440557"/>
                    <a:pt x="963019" y="440557"/>
                    <a:pt x="956609" y="446991"/>
                  </a:cubicBezTo>
                  <a:cubicBezTo>
                    <a:pt x="950912" y="453425"/>
                    <a:pt x="950912" y="462719"/>
                    <a:pt x="956609" y="468438"/>
                  </a:cubicBezTo>
                  <a:cubicBezTo>
                    <a:pt x="956609" y="468438"/>
                    <a:pt x="956609" y="468438"/>
                    <a:pt x="995778" y="507758"/>
                  </a:cubicBezTo>
                  <a:cubicBezTo>
                    <a:pt x="997202" y="509188"/>
                    <a:pt x="999338" y="509903"/>
                    <a:pt x="1000763" y="510617"/>
                  </a:cubicBezTo>
                  <a:cubicBezTo>
                    <a:pt x="1003611" y="512047"/>
                    <a:pt x="1006460" y="512762"/>
                    <a:pt x="1009309" y="512762"/>
                  </a:cubicBezTo>
                  <a:cubicBezTo>
                    <a:pt x="1013581" y="512762"/>
                    <a:pt x="1017142" y="511332"/>
                    <a:pt x="1019279" y="509188"/>
                  </a:cubicBezTo>
                  <a:cubicBezTo>
                    <a:pt x="1019279" y="509188"/>
                    <a:pt x="1019279" y="509188"/>
                    <a:pt x="1097615" y="431263"/>
                  </a:cubicBezTo>
                  <a:cubicBezTo>
                    <a:pt x="1103312" y="426259"/>
                    <a:pt x="1103312" y="416251"/>
                    <a:pt x="1097615" y="409816"/>
                  </a:cubicBezTo>
                  <a:cubicBezTo>
                    <a:pt x="1094767" y="407314"/>
                    <a:pt x="1090850" y="406063"/>
                    <a:pt x="1086933" y="406063"/>
                  </a:cubicBezTo>
                  <a:close/>
                  <a:moveTo>
                    <a:pt x="249702" y="406063"/>
                  </a:moveTo>
                  <a:cubicBezTo>
                    <a:pt x="245834" y="406063"/>
                    <a:pt x="241876" y="407314"/>
                    <a:pt x="238638" y="409816"/>
                  </a:cubicBezTo>
                  <a:cubicBezTo>
                    <a:pt x="238638" y="409816"/>
                    <a:pt x="238638" y="409816"/>
                    <a:pt x="171718" y="477732"/>
                  </a:cubicBezTo>
                  <a:cubicBezTo>
                    <a:pt x="171718" y="477732"/>
                    <a:pt x="171718" y="477732"/>
                    <a:pt x="140776" y="446991"/>
                  </a:cubicBezTo>
                  <a:cubicBezTo>
                    <a:pt x="134300" y="440557"/>
                    <a:pt x="124226" y="440557"/>
                    <a:pt x="118470" y="446991"/>
                  </a:cubicBezTo>
                  <a:cubicBezTo>
                    <a:pt x="112713" y="453425"/>
                    <a:pt x="112713" y="462719"/>
                    <a:pt x="118470" y="468438"/>
                  </a:cubicBezTo>
                  <a:cubicBezTo>
                    <a:pt x="118470" y="468438"/>
                    <a:pt x="118470" y="468438"/>
                    <a:pt x="158046" y="507758"/>
                  </a:cubicBezTo>
                  <a:cubicBezTo>
                    <a:pt x="160205" y="509188"/>
                    <a:pt x="161644" y="509903"/>
                    <a:pt x="163803" y="510617"/>
                  </a:cubicBezTo>
                  <a:cubicBezTo>
                    <a:pt x="165961" y="512047"/>
                    <a:pt x="168840" y="512762"/>
                    <a:pt x="171718" y="512762"/>
                  </a:cubicBezTo>
                  <a:cubicBezTo>
                    <a:pt x="175316" y="512762"/>
                    <a:pt x="179633" y="511332"/>
                    <a:pt x="182512" y="509188"/>
                  </a:cubicBezTo>
                  <a:cubicBezTo>
                    <a:pt x="182512" y="509188"/>
                    <a:pt x="182512" y="509188"/>
                    <a:pt x="260225" y="431263"/>
                  </a:cubicBezTo>
                  <a:cubicBezTo>
                    <a:pt x="266701" y="426259"/>
                    <a:pt x="266701" y="416251"/>
                    <a:pt x="260225" y="409816"/>
                  </a:cubicBezTo>
                  <a:cubicBezTo>
                    <a:pt x="257347" y="407314"/>
                    <a:pt x="253569" y="406063"/>
                    <a:pt x="249702" y="406063"/>
                  </a:cubicBezTo>
                  <a:close/>
                  <a:moveTo>
                    <a:pt x="566052" y="388952"/>
                  </a:moveTo>
                  <a:cubicBezTo>
                    <a:pt x="561947" y="388952"/>
                    <a:pt x="557842" y="390554"/>
                    <a:pt x="554986" y="393758"/>
                  </a:cubicBezTo>
                  <a:cubicBezTo>
                    <a:pt x="549275" y="398742"/>
                    <a:pt x="549275" y="408709"/>
                    <a:pt x="554986" y="415117"/>
                  </a:cubicBezTo>
                  <a:cubicBezTo>
                    <a:pt x="554986" y="415117"/>
                    <a:pt x="554986" y="415117"/>
                    <a:pt x="587826" y="447868"/>
                  </a:cubicBezTo>
                  <a:cubicBezTo>
                    <a:pt x="587826" y="447868"/>
                    <a:pt x="587826" y="447868"/>
                    <a:pt x="554986" y="479194"/>
                  </a:cubicBezTo>
                  <a:cubicBezTo>
                    <a:pt x="549275" y="485602"/>
                    <a:pt x="549275" y="494858"/>
                    <a:pt x="554986" y="499841"/>
                  </a:cubicBezTo>
                  <a:cubicBezTo>
                    <a:pt x="558556" y="503401"/>
                    <a:pt x="561412" y="504825"/>
                    <a:pt x="566409" y="504825"/>
                  </a:cubicBezTo>
                  <a:cubicBezTo>
                    <a:pt x="570692" y="504825"/>
                    <a:pt x="574262" y="503401"/>
                    <a:pt x="577118" y="499841"/>
                  </a:cubicBezTo>
                  <a:cubicBezTo>
                    <a:pt x="577118" y="499841"/>
                    <a:pt x="577118" y="499841"/>
                    <a:pt x="609957" y="469227"/>
                  </a:cubicBezTo>
                  <a:cubicBezTo>
                    <a:pt x="609957" y="469227"/>
                    <a:pt x="609957" y="469227"/>
                    <a:pt x="642083" y="499841"/>
                  </a:cubicBezTo>
                  <a:cubicBezTo>
                    <a:pt x="644939" y="503401"/>
                    <a:pt x="649222" y="504825"/>
                    <a:pt x="652792" y="504825"/>
                  </a:cubicBezTo>
                  <a:cubicBezTo>
                    <a:pt x="657075" y="504825"/>
                    <a:pt x="661358" y="503401"/>
                    <a:pt x="663500" y="499841"/>
                  </a:cubicBezTo>
                  <a:cubicBezTo>
                    <a:pt x="669925" y="494858"/>
                    <a:pt x="669925" y="485602"/>
                    <a:pt x="663500" y="479194"/>
                  </a:cubicBezTo>
                  <a:cubicBezTo>
                    <a:pt x="663500" y="479194"/>
                    <a:pt x="663500" y="479194"/>
                    <a:pt x="631374" y="447868"/>
                  </a:cubicBezTo>
                  <a:cubicBezTo>
                    <a:pt x="631374" y="447868"/>
                    <a:pt x="631374" y="447868"/>
                    <a:pt x="663500" y="415117"/>
                  </a:cubicBezTo>
                  <a:cubicBezTo>
                    <a:pt x="669925" y="408709"/>
                    <a:pt x="669925" y="398742"/>
                    <a:pt x="663500" y="393758"/>
                  </a:cubicBezTo>
                  <a:cubicBezTo>
                    <a:pt x="657789" y="387350"/>
                    <a:pt x="647794" y="387350"/>
                    <a:pt x="642083" y="393758"/>
                  </a:cubicBezTo>
                  <a:cubicBezTo>
                    <a:pt x="642083" y="393758"/>
                    <a:pt x="642083" y="393758"/>
                    <a:pt x="609957" y="425796"/>
                  </a:cubicBezTo>
                  <a:cubicBezTo>
                    <a:pt x="609957" y="425796"/>
                    <a:pt x="609957" y="425796"/>
                    <a:pt x="577118" y="393758"/>
                  </a:cubicBezTo>
                  <a:cubicBezTo>
                    <a:pt x="574262" y="390554"/>
                    <a:pt x="570157" y="388952"/>
                    <a:pt x="566052" y="388952"/>
                  </a:cubicBezTo>
                  <a:close/>
                  <a:moveTo>
                    <a:pt x="1027112" y="344487"/>
                  </a:moveTo>
                  <a:cubicBezTo>
                    <a:pt x="1085855" y="344487"/>
                    <a:pt x="1133475" y="391041"/>
                    <a:pt x="1133475" y="448469"/>
                  </a:cubicBezTo>
                  <a:cubicBezTo>
                    <a:pt x="1133475" y="505897"/>
                    <a:pt x="1085855" y="552451"/>
                    <a:pt x="1027112" y="552451"/>
                  </a:cubicBezTo>
                  <a:cubicBezTo>
                    <a:pt x="968369" y="552451"/>
                    <a:pt x="920749" y="505897"/>
                    <a:pt x="920749" y="448469"/>
                  </a:cubicBezTo>
                  <a:cubicBezTo>
                    <a:pt x="920749" y="391041"/>
                    <a:pt x="968369" y="344487"/>
                    <a:pt x="1027112" y="344487"/>
                  </a:cubicBezTo>
                  <a:close/>
                  <a:moveTo>
                    <a:pt x="192882" y="344487"/>
                  </a:moveTo>
                  <a:cubicBezTo>
                    <a:pt x="251186" y="344487"/>
                    <a:pt x="298451" y="391041"/>
                    <a:pt x="298451" y="448469"/>
                  </a:cubicBezTo>
                  <a:cubicBezTo>
                    <a:pt x="298451" y="505897"/>
                    <a:pt x="251186" y="552451"/>
                    <a:pt x="192882" y="552451"/>
                  </a:cubicBezTo>
                  <a:cubicBezTo>
                    <a:pt x="134578" y="552451"/>
                    <a:pt x="87313" y="505897"/>
                    <a:pt x="87313" y="448469"/>
                  </a:cubicBezTo>
                  <a:cubicBezTo>
                    <a:pt x="87313" y="391041"/>
                    <a:pt x="134578" y="344487"/>
                    <a:pt x="192882" y="344487"/>
                  </a:cubicBezTo>
                  <a:close/>
                  <a:moveTo>
                    <a:pt x="609959" y="342900"/>
                  </a:moveTo>
                  <a:cubicBezTo>
                    <a:pt x="667975" y="342900"/>
                    <a:pt x="715963" y="389193"/>
                    <a:pt x="715963" y="447594"/>
                  </a:cubicBezTo>
                  <a:cubicBezTo>
                    <a:pt x="715963" y="503858"/>
                    <a:pt x="667975" y="550863"/>
                    <a:pt x="609959" y="550863"/>
                  </a:cubicBezTo>
                  <a:cubicBezTo>
                    <a:pt x="550510" y="550863"/>
                    <a:pt x="503238" y="503858"/>
                    <a:pt x="503238" y="447594"/>
                  </a:cubicBezTo>
                  <a:cubicBezTo>
                    <a:pt x="503238" y="389193"/>
                    <a:pt x="550510" y="342900"/>
                    <a:pt x="609959" y="342900"/>
                  </a:cubicBezTo>
                  <a:close/>
                  <a:moveTo>
                    <a:pt x="848631" y="0"/>
                  </a:moveTo>
                  <a:cubicBezTo>
                    <a:pt x="848631" y="0"/>
                    <a:pt x="848631" y="0"/>
                    <a:pt x="1193581" y="0"/>
                  </a:cubicBezTo>
                  <a:cubicBezTo>
                    <a:pt x="1200708" y="0"/>
                    <a:pt x="1205697" y="3568"/>
                    <a:pt x="1208548" y="9278"/>
                  </a:cubicBezTo>
                  <a:cubicBezTo>
                    <a:pt x="1208548" y="9278"/>
                    <a:pt x="1208548" y="9278"/>
                    <a:pt x="1301200" y="194119"/>
                  </a:cubicBezTo>
                  <a:cubicBezTo>
                    <a:pt x="1303338" y="198401"/>
                    <a:pt x="1303338" y="203397"/>
                    <a:pt x="1301200" y="207679"/>
                  </a:cubicBezTo>
                  <a:cubicBezTo>
                    <a:pt x="1301200" y="207679"/>
                    <a:pt x="1301200" y="207679"/>
                    <a:pt x="1208548" y="393947"/>
                  </a:cubicBezTo>
                  <a:cubicBezTo>
                    <a:pt x="1205697" y="398943"/>
                    <a:pt x="1200708" y="403225"/>
                    <a:pt x="1193581" y="403225"/>
                  </a:cubicBezTo>
                  <a:cubicBezTo>
                    <a:pt x="1193581" y="403225"/>
                    <a:pt x="1193581" y="403225"/>
                    <a:pt x="1155095" y="403225"/>
                  </a:cubicBezTo>
                  <a:cubicBezTo>
                    <a:pt x="1136565" y="350413"/>
                    <a:pt x="1085963" y="312588"/>
                    <a:pt x="1027521" y="312588"/>
                  </a:cubicBezTo>
                  <a:cubicBezTo>
                    <a:pt x="968366" y="312588"/>
                    <a:pt x="917764" y="350413"/>
                    <a:pt x="899233" y="403225"/>
                  </a:cubicBezTo>
                  <a:cubicBezTo>
                    <a:pt x="899233" y="403225"/>
                    <a:pt x="899233" y="403225"/>
                    <a:pt x="848631" y="403225"/>
                  </a:cubicBezTo>
                  <a:cubicBezTo>
                    <a:pt x="835802" y="403225"/>
                    <a:pt x="828675" y="390379"/>
                    <a:pt x="833664" y="380388"/>
                  </a:cubicBezTo>
                  <a:cubicBezTo>
                    <a:pt x="833664" y="380388"/>
                    <a:pt x="833664" y="380388"/>
                    <a:pt x="919189" y="207679"/>
                  </a:cubicBezTo>
                  <a:cubicBezTo>
                    <a:pt x="921327" y="203397"/>
                    <a:pt x="921327" y="198401"/>
                    <a:pt x="919189" y="194119"/>
                  </a:cubicBezTo>
                  <a:cubicBezTo>
                    <a:pt x="919189" y="194119"/>
                    <a:pt x="919189" y="194119"/>
                    <a:pt x="833664" y="22837"/>
                  </a:cubicBezTo>
                  <a:cubicBezTo>
                    <a:pt x="828675" y="12132"/>
                    <a:pt x="835802" y="0"/>
                    <a:pt x="848631" y="0"/>
                  </a:cubicBezTo>
                  <a:close/>
                  <a:moveTo>
                    <a:pt x="430275" y="0"/>
                  </a:moveTo>
                  <a:cubicBezTo>
                    <a:pt x="430275" y="0"/>
                    <a:pt x="430275" y="0"/>
                    <a:pt x="775030" y="0"/>
                  </a:cubicBezTo>
                  <a:cubicBezTo>
                    <a:pt x="781454" y="0"/>
                    <a:pt x="787878" y="3568"/>
                    <a:pt x="790733" y="9278"/>
                  </a:cubicBezTo>
                  <a:cubicBezTo>
                    <a:pt x="790733" y="9278"/>
                    <a:pt x="790733" y="9278"/>
                    <a:pt x="882097" y="194833"/>
                  </a:cubicBezTo>
                  <a:cubicBezTo>
                    <a:pt x="884238" y="199115"/>
                    <a:pt x="884238" y="203397"/>
                    <a:pt x="882097" y="207679"/>
                  </a:cubicBezTo>
                  <a:cubicBezTo>
                    <a:pt x="882097" y="207679"/>
                    <a:pt x="882097" y="207679"/>
                    <a:pt x="790733" y="394661"/>
                  </a:cubicBezTo>
                  <a:cubicBezTo>
                    <a:pt x="787878" y="398943"/>
                    <a:pt x="781454" y="403225"/>
                    <a:pt x="775030" y="403225"/>
                  </a:cubicBezTo>
                  <a:cubicBezTo>
                    <a:pt x="775030" y="403225"/>
                    <a:pt x="775030" y="403225"/>
                    <a:pt x="738627" y="403225"/>
                  </a:cubicBezTo>
                  <a:cubicBezTo>
                    <a:pt x="720069" y="349700"/>
                    <a:pt x="669391" y="311161"/>
                    <a:pt x="610147" y="311161"/>
                  </a:cubicBezTo>
                  <a:cubicBezTo>
                    <a:pt x="550190" y="311161"/>
                    <a:pt x="500225" y="349700"/>
                    <a:pt x="482381" y="403225"/>
                  </a:cubicBezTo>
                  <a:cubicBezTo>
                    <a:pt x="482381" y="403225"/>
                    <a:pt x="482381" y="403225"/>
                    <a:pt x="430275" y="403225"/>
                  </a:cubicBezTo>
                  <a:cubicBezTo>
                    <a:pt x="417427" y="403225"/>
                    <a:pt x="409575" y="391093"/>
                    <a:pt x="414572" y="380388"/>
                  </a:cubicBezTo>
                  <a:cubicBezTo>
                    <a:pt x="414572" y="380388"/>
                    <a:pt x="414572" y="380388"/>
                    <a:pt x="500225" y="207679"/>
                  </a:cubicBezTo>
                  <a:cubicBezTo>
                    <a:pt x="502367" y="203397"/>
                    <a:pt x="502367" y="199115"/>
                    <a:pt x="500225" y="194833"/>
                  </a:cubicBezTo>
                  <a:cubicBezTo>
                    <a:pt x="500225" y="194833"/>
                    <a:pt x="500225" y="194833"/>
                    <a:pt x="414572" y="22838"/>
                  </a:cubicBezTo>
                  <a:cubicBezTo>
                    <a:pt x="409575" y="12133"/>
                    <a:pt x="417427" y="0"/>
                    <a:pt x="430275" y="0"/>
                  </a:cubicBezTo>
                  <a:close/>
                  <a:moveTo>
                    <a:pt x="15719" y="0"/>
                  </a:moveTo>
                  <a:cubicBezTo>
                    <a:pt x="15719" y="0"/>
                    <a:pt x="15719" y="0"/>
                    <a:pt x="357249" y="0"/>
                  </a:cubicBezTo>
                  <a:cubicBezTo>
                    <a:pt x="362965" y="0"/>
                    <a:pt x="368681" y="3568"/>
                    <a:pt x="371539" y="9278"/>
                  </a:cubicBezTo>
                  <a:cubicBezTo>
                    <a:pt x="371539" y="9278"/>
                    <a:pt x="371539" y="9278"/>
                    <a:pt x="462995" y="194119"/>
                  </a:cubicBezTo>
                  <a:cubicBezTo>
                    <a:pt x="465138" y="198401"/>
                    <a:pt x="465138" y="203397"/>
                    <a:pt x="462995" y="207679"/>
                  </a:cubicBezTo>
                  <a:cubicBezTo>
                    <a:pt x="462995" y="207679"/>
                    <a:pt x="462995" y="207679"/>
                    <a:pt x="371539" y="393947"/>
                  </a:cubicBezTo>
                  <a:cubicBezTo>
                    <a:pt x="369396" y="398943"/>
                    <a:pt x="362965" y="403225"/>
                    <a:pt x="357249" y="403225"/>
                  </a:cubicBezTo>
                  <a:cubicBezTo>
                    <a:pt x="357249" y="403225"/>
                    <a:pt x="357249" y="403225"/>
                    <a:pt x="320095" y="403225"/>
                  </a:cubicBezTo>
                  <a:cubicBezTo>
                    <a:pt x="301518" y="350413"/>
                    <a:pt x="252218" y="312588"/>
                    <a:pt x="192915" y="312588"/>
                  </a:cubicBezTo>
                  <a:cubicBezTo>
                    <a:pt x="133611" y="312588"/>
                    <a:pt x="84310" y="350413"/>
                    <a:pt x="65734" y="403225"/>
                  </a:cubicBezTo>
                  <a:cubicBezTo>
                    <a:pt x="65734" y="403225"/>
                    <a:pt x="65734" y="403225"/>
                    <a:pt x="15719" y="403225"/>
                  </a:cubicBezTo>
                  <a:cubicBezTo>
                    <a:pt x="7145" y="403225"/>
                    <a:pt x="0" y="395375"/>
                    <a:pt x="0" y="386811"/>
                  </a:cubicBezTo>
                  <a:cubicBezTo>
                    <a:pt x="0" y="386811"/>
                    <a:pt x="0" y="386811"/>
                    <a:pt x="0" y="16414"/>
                  </a:cubicBezTo>
                  <a:cubicBezTo>
                    <a:pt x="0" y="7137"/>
                    <a:pt x="7145" y="0"/>
                    <a:pt x="1571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284C"/>
                </a:solidFill>
                <a:effectLst/>
                <a:uLnTx/>
                <a:uFillTx/>
                <a:latin typeface="Open Sans"/>
                <a:ea typeface="+mn-ea"/>
                <a:cs typeface="+mn-cs"/>
              </a:endParaRPr>
            </a:p>
          </p:txBody>
        </p:sp>
      </p:grpSp>
    </p:spTree>
    <p:extLst>
      <p:ext uri="{BB962C8B-B14F-4D97-AF65-F5344CB8AC3E}">
        <p14:creationId xmlns:p14="http://schemas.microsoft.com/office/powerpoint/2010/main" val="102544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dissolve">
                                      <p:cBhvr>
                                        <p:cTn id="7" dur="500"/>
                                        <p:tgtEl>
                                          <p:spTgt spid="55"/>
                                        </p:tgtEl>
                                      </p:cBhvr>
                                    </p:animEffect>
                                  </p:childTnLst>
                                </p:cTn>
                              </p:par>
                              <p:par>
                                <p:cTn id="8" presetID="9" presetClass="entr" presetSubtype="0" fill="hold" grpId="0"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dissolve">
                                      <p:cBhvr>
                                        <p:cTn id="10" dur="500"/>
                                        <p:tgtEl>
                                          <p:spTgt spid="5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61"/>
                                        </p:tgtEl>
                                        <p:attrNameLst>
                                          <p:attrName>style.visibility</p:attrName>
                                        </p:attrNameLst>
                                      </p:cBhvr>
                                      <p:to>
                                        <p:strVal val="visible"/>
                                      </p:to>
                                    </p:set>
                                    <p:animEffect transition="in" filter="dissolve">
                                      <p:cBhvr>
                                        <p:cTn id="13" dur="500"/>
                                        <p:tgtEl>
                                          <p:spTgt spid="61"/>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dissolve">
                                      <p:cBhvr>
                                        <p:cTn id="18" dur="500"/>
                                        <p:tgtEl>
                                          <p:spTgt spid="57"/>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56"/>
                                        </p:tgtEl>
                                        <p:attrNameLst>
                                          <p:attrName>style.visibility</p:attrName>
                                        </p:attrNameLst>
                                      </p:cBhvr>
                                      <p:to>
                                        <p:strVal val="visible"/>
                                      </p:to>
                                    </p:set>
                                    <p:animEffect transition="in" filter="dissolve">
                                      <p:cBhvr>
                                        <p:cTn id="21" dur="500"/>
                                        <p:tgtEl>
                                          <p:spTgt spid="56"/>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62"/>
                                        </p:tgtEl>
                                        <p:attrNameLst>
                                          <p:attrName>style.visibility</p:attrName>
                                        </p:attrNameLst>
                                      </p:cBhvr>
                                      <p:to>
                                        <p:strVal val="visible"/>
                                      </p:to>
                                    </p:set>
                                    <p:animEffect transition="in" filter="dissolve">
                                      <p:cBhvr>
                                        <p:cTn id="24"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p:bldP spid="56" grpId="0" animBg="1"/>
      <p:bldP spid="57" grpId="0"/>
      <p:bldP spid="61" grpId="0"/>
      <p:bldP spid="6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GAOaB2ba2x6CVUokETjXM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oUFxA4EtT49YUzOgUkmx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AZUEbBErZ7g6jEz04WFb8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AZUEbBErZ7g6jEz04WFb8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AZUEbBErZ7g6jEz04WFb8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qBt5wy1x8wIEtmwn_vGYC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qGLQn.rFxkVnWlu_vYq4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f3YWQyTAgZRYawDac2xa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UgKzZIoiUGBanRqFDdOOa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W2dIL.yMD_IURvrhxDedo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sC7A6y9IMk2yc65..R1Dm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wiCgTmIHZOn5qj9apBtGA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UeqSM0YMxpYmZ5LkB4Xa7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_ERUfVLyk55dkXalU5bqSg"/>
</p:tagLst>
</file>

<file path=ppt/tags/tag467.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nsmK6t.OcDk4S.K6KXyFK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9zGQfK45ea68NZ.XoBLU5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nsmK6t.OcDk4S.K6KXyFK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9zGQfK45ea68NZ.XoBLU5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CVAyQufmh8lgE1f98nkeX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pWCT3i2kSlpTGm5edhYuB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39o6e9id9pFsMec4yjMV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jOq7KD.brxLTgNNXfOSTn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LkVosDhDabvA2C0DBeT7y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6gLQZL6qxT6UxpS1vU1PO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DEZufBB.s8DCtghjfLjN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YX5fxckan93vlJTaDS5AX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2RuSnfgObzyOxTZClCYKs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rqPxk7RKKngqNEq6AMG9.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xf3xvrjjV4U5ypAGbi0CH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K5XUVKn60XlC.Pc9WySoJ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qBt5wy1x8wIEtmwn_vGYC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90.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Zk13469A74k1UXtjz.BFS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qBt5wy1x8wIEtmwn_vGYC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nsmK6t.OcDk4S.K6KXyFK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9zGQfK45ea68NZ.XoBLU5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vTL8XZ0bZplU0thIK2yYu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aFQy2W5orV7B_ge0LU9uw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uso7OLkS4zaKmIGpCrCbs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f_tB3zcbCIs7wOpszoOtgQ"/>
</p:tagLst>
</file>

<file path=ppt/tags/tag504.xml><?xml version="1.0" encoding="utf-8"?>
<p:tagLst xmlns:a="http://schemas.openxmlformats.org/drawingml/2006/main" xmlns:r="http://schemas.openxmlformats.org/officeDocument/2006/relationships" xmlns:p="http://schemas.openxmlformats.org/presentationml/2006/main">
  <p:tag name="BCG_MODE" val="Presentation"/>
  <p:tag name="BCG_DESIGN" val="Section header line"/>
  <p:tag name="EE4P_LAYOUT_ID" val="K"/>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tcBfxsl5YSrTr_Wju_8_X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tcBfxsl5YSrTr_Wju_8_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Open Sans">
      <a:majorFont>
        <a:latin typeface="Open Sans Semibold"/>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Open Sans">
      <a:majorFont>
        <a:latin typeface="Open Sans Semibold"/>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Open Sans">
      <a:majorFont>
        <a:latin typeface="Open Sans Semibold"/>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4_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Open Sans">
      <a:majorFont>
        <a:latin typeface="Open Sans Semibold"/>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ppt/theme/themeOverride2.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ppt/theme/themeOverride3.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ppt/theme/themeOverride4.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ppt/theme/themeOverride5.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docProps/app.xml><?xml version="1.0" encoding="utf-8"?>
<Properties xmlns="http://schemas.openxmlformats.org/officeDocument/2006/extended-properties" xmlns:vt="http://schemas.openxmlformats.org/officeDocument/2006/docPropsVTypes">
  <TotalTime>375</TotalTime>
  <Words>1714</Words>
  <Application>Microsoft Office PowerPoint</Application>
  <PresentationFormat>Widescreen</PresentationFormat>
  <Paragraphs>260</Paragraphs>
  <Slides>19</Slides>
  <Notes>14</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33" baseType="lpstr">
      <vt:lpstr>Arial</vt:lpstr>
      <vt:lpstr>Calibri</vt:lpstr>
      <vt:lpstr>Open Sans</vt:lpstr>
      <vt:lpstr>Open Sans Light</vt:lpstr>
      <vt:lpstr>Open Sans Semibold</vt:lpstr>
      <vt:lpstr>Open Sans Semibold</vt:lpstr>
      <vt:lpstr>Trebuchet MS</vt:lpstr>
      <vt:lpstr>Wingdings</vt:lpstr>
      <vt:lpstr>New - Kansas Education Case Template Grid 16:9 - 13720</vt:lpstr>
      <vt:lpstr>1_New - Kansas Education Case Template Grid 16:9 - 13720</vt:lpstr>
      <vt:lpstr>2_New - Kansas Education Case Template Grid 16:9 - 13720</vt:lpstr>
      <vt:lpstr>3_New - Kansas Education Case Template Grid 16:9 - 13720</vt:lpstr>
      <vt:lpstr>4_New - Kansas Education Case Template Grid 16:9 - 13720</vt:lpstr>
      <vt:lpstr>think-cell Slide</vt:lpstr>
      <vt:lpstr>Commissioner's K-12 COVID-19 Relief Funds Task Force </vt:lpstr>
      <vt:lpstr>This Task Force was set up to maximize the use of these funds to meet the acute needs of Kansas students in line with federal regulations and Kansas K-12 priorities</vt:lpstr>
      <vt:lpstr>The Task Force has a number of critical responsibilities in its role of overseeing the use of these funds</vt:lpstr>
      <vt:lpstr>Task Force work will be conducted in weekly public meetings</vt:lpstr>
      <vt:lpstr>Federal relief funds intended to further support LEAs and nonpublic schools in addressing these needs</vt:lpstr>
      <vt:lpstr>Key differences between EANS/ESSER suggest a differentiated application approval approach</vt:lpstr>
      <vt:lpstr>Prior funding: ESSER I spend providing much-needed relief; many districts have used all ESSER I allocations</vt:lpstr>
      <vt:lpstr>PowerPoint Presentation</vt:lpstr>
      <vt:lpstr>EANS application | Three key goals for information gathered</vt:lpstr>
      <vt:lpstr>…as well as summary reports of applications, requests, and recommendations across all schools</vt:lpstr>
      <vt:lpstr>EANS applications reviewed by KSDE; Task Force will recommend allocation of resources to schools</vt:lpstr>
      <vt:lpstr>PowerPoint Presentation</vt:lpstr>
      <vt:lpstr>Oversight must ensure that uses of funds are necessary, allowable, and reasonable</vt:lpstr>
      <vt:lpstr>ESSER applications to be reviewed individually by both KSDE and Task Force</vt:lpstr>
      <vt:lpstr>ESSER II has multiple components; $370M in total allocated to Kansas </vt:lpstr>
      <vt:lpstr>PowerPoint Presentation</vt:lpstr>
      <vt:lpstr>EANS II also similar to EANS I, with similar amount; no reimbursements allowed</vt:lpstr>
      <vt:lpstr>ESSER III signed into law; overall similar to ESSER II with some key differen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issioner's K-12 COVID-19 Relief Funds Task Force</dc:title>
  <dc:creator>Randy Watson</dc:creator>
  <cp:lastModifiedBy>Makayla Auldridge</cp:lastModifiedBy>
  <cp:revision>23</cp:revision>
  <cp:lastPrinted>2021-03-24T20:06:20Z</cp:lastPrinted>
  <dcterms:created xsi:type="dcterms:W3CDTF">2021-03-24T12:04:44Z</dcterms:created>
  <dcterms:modified xsi:type="dcterms:W3CDTF">2021-08-30T14:59:45Z</dcterms:modified>
</cp:coreProperties>
</file>